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461" r:id="rId2"/>
    <p:sldId id="514" r:id="rId3"/>
    <p:sldId id="462" r:id="rId4"/>
    <p:sldId id="465" r:id="rId5"/>
    <p:sldId id="466" r:id="rId6"/>
    <p:sldId id="463" r:id="rId7"/>
    <p:sldId id="51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>
        <p:scale>
          <a:sx n="104" d="100"/>
          <a:sy n="104" d="100"/>
        </p:scale>
        <p:origin x="1440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058896-2F27-40A8-A39A-528828759DE7}" type="doc">
      <dgm:prSet loTypeId="urn:microsoft.com/office/officeart/2009/3/layout/SubStepProcess" loCatId="process" qsTypeId="urn:microsoft.com/office/officeart/2005/8/quickstyle/simple1" qsCatId="simple" csTypeId="urn:microsoft.com/office/officeart/2005/8/colors/accent1_2" csCatId="accent1" phldr="1"/>
      <dgm:spPr/>
    </dgm:pt>
    <dgm:pt modelId="{ED9B2AA3-B886-4718-9515-BD25C877AC91}">
      <dgm:prSet phldrT="[Text]"/>
      <dgm:spPr>
        <a:solidFill>
          <a:srgbClr val="002060"/>
        </a:solidFill>
      </dgm:spPr>
      <dgm:t>
        <a:bodyPr/>
        <a:lstStyle/>
        <a:p>
          <a:r>
            <a:rPr lang="en-US" dirty="0"/>
            <a:t>SolidWorks</a:t>
          </a:r>
        </a:p>
      </dgm:t>
    </dgm:pt>
    <dgm:pt modelId="{919EB8F8-3E1D-4320-BB26-AEC858E7D102}" type="parTrans" cxnId="{216FF09B-1F5C-4C94-BAC5-3A43B3222ED3}">
      <dgm:prSet/>
      <dgm:spPr/>
      <dgm:t>
        <a:bodyPr/>
        <a:lstStyle/>
        <a:p>
          <a:endParaRPr lang="en-US"/>
        </a:p>
      </dgm:t>
    </dgm:pt>
    <dgm:pt modelId="{517A4E1B-4F1A-474B-85EA-345CDB2C710F}" type="sibTrans" cxnId="{216FF09B-1F5C-4C94-BAC5-3A43B3222ED3}">
      <dgm:prSet/>
      <dgm:spPr/>
      <dgm:t>
        <a:bodyPr/>
        <a:lstStyle/>
        <a:p>
          <a:endParaRPr lang="en-US"/>
        </a:p>
      </dgm:t>
    </dgm:pt>
    <dgm:pt modelId="{FC37ED9B-8338-4944-B9D9-1A9B2CC315E1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A181C4D2-3CF2-45E4-9EA5-B7564BEC073F}" type="parTrans" cxnId="{00D5026A-3BB9-4E93-A589-6433F8F2520B}">
      <dgm:prSet/>
      <dgm:spPr/>
      <dgm:t>
        <a:bodyPr/>
        <a:lstStyle/>
        <a:p>
          <a:endParaRPr lang="en-US"/>
        </a:p>
      </dgm:t>
    </dgm:pt>
    <dgm:pt modelId="{587E70AE-7754-4296-8BCE-89170C260240}" type="sibTrans" cxnId="{00D5026A-3BB9-4E93-A589-6433F8F2520B}">
      <dgm:prSet/>
      <dgm:spPr/>
      <dgm:t>
        <a:bodyPr/>
        <a:lstStyle/>
        <a:p>
          <a:endParaRPr lang="en-US"/>
        </a:p>
      </dgm:t>
    </dgm:pt>
    <dgm:pt modelId="{BB4757E1-774D-4718-85F1-270AD90ED1BF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8E56D59F-B7B8-4D2C-AC2C-635AB4ED87B8}" type="parTrans" cxnId="{21934A12-1335-4370-8D85-542C3406364D}">
      <dgm:prSet/>
      <dgm:spPr/>
      <dgm:t>
        <a:bodyPr/>
        <a:lstStyle/>
        <a:p>
          <a:endParaRPr lang="en-US"/>
        </a:p>
      </dgm:t>
    </dgm:pt>
    <dgm:pt modelId="{883433D6-BEC8-4301-8215-6714E6970DAB}" type="sibTrans" cxnId="{21934A12-1335-4370-8D85-542C3406364D}">
      <dgm:prSet/>
      <dgm:spPr/>
      <dgm:t>
        <a:bodyPr/>
        <a:lstStyle/>
        <a:p>
          <a:endParaRPr lang="en-US"/>
        </a:p>
      </dgm:t>
    </dgm:pt>
    <dgm:pt modelId="{41853CCD-137A-4248-B5B8-408D7954ABA8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083164DA-E003-44CA-A65F-B36DAF85A5D5}" type="parTrans" cxnId="{83287AA5-6B00-4B5B-86EF-8522E5E1D77C}">
      <dgm:prSet/>
      <dgm:spPr/>
      <dgm:t>
        <a:bodyPr/>
        <a:lstStyle/>
        <a:p>
          <a:endParaRPr lang="en-US"/>
        </a:p>
      </dgm:t>
    </dgm:pt>
    <dgm:pt modelId="{92CAD904-D239-4DF7-87FD-13E6D2E48143}" type="sibTrans" cxnId="{83287AA5-6B00-4B5B-86EF-8522E5E1D77C}">
      <dgm:prSet/>
      <dgm:spPr/>
      <dgm:t>
        <a:bodyPr/>
        <a:lstStyle/>
        <a:p>
          <a:endParaRPr lang="en-US"/>
        </a:p>
      </dgm:t>
    </dgm:pt>
    <dgm:pt modelId="{07F60B7E-FEC6-49B4-B64F-85D78C21459E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7A5E3FCA-05AE-417D-8D3D-90D5F1E050FB}" type="parTrans" cxnId="{E3825C85-4ECD-4A46-8788-B2F77C2E5339}">
      <dgm:prSet/>
      <dgm:spPr/>
      <dgm:t>
        <a:bodyPr/>
        <a:lstStyle/>
        <a:p>
          <a:endParaRPr lang="en-US"/>
        </a:p>
      </dgm:t>
    </dgm:pt>
    <dgm:pt modelId="{A2AB246C-2030-45C0-97EA-FE0C18C9BAB9}" type="sibTrans" cxnId="{E3825C85-4ECD-4A46-8788-B2F77C2E5339}">
      <dgm:prSet/>
      <dgm:spPr/>
      <dgm:t>
        <a:bodyPr/>
        <a:lstStyle/>
        <a:p>
          <a:endParaRPr lang="en-US"/>
        </a:p>
      </dgm:t>
    </dgm:pt>
    <dgm:pt modelId="{E5C776D5-0CAD-4B6B-9424-975303162719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39391323-3DDC-4CE1-9A50-97C1A23CC3E8}" type="parTrans" cxnId="{A239D9B0-C7D3-481B-A007-9407282D8593}">
      <dgm:prSet/>
      <dgm:spPr/>
      <dgm:t>
        <a:bodyPr/>
        <a:lstStyle/>
        <a:p>
          <a:endParaRPr lang="en-US"/>
        </a:p>
      </dgm:t>
    </dgm:pt>
    <dgm:pt modelId="{97FD12E7-DCAE-4275-A34B-A0184A8AC0FC}" type="sibTrans" cxnId="{A239D9B0-C7D3-481B-A007-9407282D8593}">
      <dgm:prSet/>
      <dgm:spPr/>
      <dgm:t>
        <a:bodyPr/>
        <a:lstStyle/>
        <a:p>
          <a:endParaRPr lang="en-US"/>
        </a:p>
      </dgm:t>
    </dgm:pt>
    <dgm:pt modelId="{A4A4ED36-B86E-4F65-98FF-D018712E65A7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C7E5F0E9-04C9-4C50-85BA-EC1D8DD74B00}" type="parTrans" cxnId="{B9B16554-0798-40F4-B0F6-E7231745AA73}">
      <dgm:prSet/>
      <dgm:spPr/>
      <dgm:t>
        <a:bodyPr/>
        <a:lstStyle/>
        <a:p>
          <a:endParaRPr lang="en-US"/>
        </a:p>
      </dgm:t>
    </dgm:pt>
    <dgm:pt modelId="{4E108322-33C8-4537-8E14-DC9C4D2B2B53}" type="sibTrans" cxnId="{B9B16554-0798-40F4-B0F6-E7231745AA73}">
      <dgm:prSet/>
      <dgm:spPr/>
      <dgm:t>
        <a:bodyPr/>
        <a:lstStyle/>
        <a:p>
          <a:endParaRPr lang="en-US"/>
        </a:p>
      </dgm:t>
    </dgm:pt>
    <dgm:pt modelId="{7ACFDA69-F7FF-4EBF-98C1-E6CEEA263722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AD3F28CE-A2F6-4708-9B12-CCECFD0D744F}" type="parTrans" cxnId="{621D7C9D-C8E8-499F-82BC-2AAA536EF7F5}">
      <dgm:prSet/>
      <dgm:spPr/>
      <dgm:t>
        <a:bodyPr/>
        <a:lstStyle/>
        <a:p>
          <a:endParaRPr lang="en-US"/>
        </a:p>
      </dgm:t>
    </dgm:pt>
    <dgm:pt modelId="{4B5EAAAC-95F3-455A-A3BB-9F97E85C0CE6}" type="sibTrans" cxnId="{621D7C9D-C8E8-499F-82BC-2AAA536EF7F5}">
      <dgm:prSet/>
      <dgm:spPr/>
      <dgm:t>
        <a:bodyPr/>
        <a:lstStyle/>
        <a:p>
          <a:endParaRPr lang="en-US"/>
        </a:p>
      </dgm:t>
    </dgm:pt>
    <dgm:pt modelId="{07194F9F-15C4-4B4D-B9EC-B69BF50CB49B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E39CD2B3-A237-40FC-B263-302F120B20A3}" type="parTrans" cxnId="{70080880-8445-4F5B-84F1-8D82001BBD49}">
      <dgm:prSet/>
      <dgm:spPr/>
      <dgm:t>
        <a:bodyPr/>
        <a:lstStyle/>
        <a:p>
          <a:endParaRPr lang="en-US"/>
        </a:p>
      </dgm:t>
    </dgm:pt>
    <dgm:pt modelId="{32691282-C8FD-498D-8169-21270BEA9060}" type="sibTrans" cxnId="{70080880-8445-4F5B-84F1-8D82001BBD49}">
      <dgm:prSet/>
      <dgm:spPr/>
      <dgm:t>
        <a:bodyPr/>
        <a:lstStyle/>
        <a:p>
          <a:endParaRPr lang="en-US"/>
        </a:p>
      </dgm:t>
    </dgm:pt>
    <dgm:pt modelId="{78F3C406-E349-4E08-A644-4C711389428C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53BFC04B-E4BB-4766-81C8-271B79BE8E37}" type="parTrans" cxnId="{3343FCEB-E132-4139-B19A-D38084B44944}">
      <dgm:prSet/>
      <dgm:spPr/>
      <dgm:t>
        <a:bodyPr/>
        <a:lstStyle/>
        <a:p>
          <a:endParaRPr lang="en-US"/>
        </a:p>
      </dgm:t>
    </dgm:pt>
    <dgm:pt modelId="{D73E6A01-B8FC-4952-82C0-46928FF34849}" type="sibTrans" cxnId="{3343FCEB-E132-4139-B19A-D38084B44944}">
      <dgm:prSet/>
      <dgm:spPr/>
      <dgm:t>
        <a:bodyPr/>
        <a:lstStyle/>
        <a:p>
          <a:endParaRPr lang="en-US"/>
        </a:p>
      </dgm:t>
    </dgm:pt>
    <dgm:pt modelId="{223FA01B-2654-411E-B8A1-699E347C88BC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22558CEF-2D96-4AD6-A246-77F8A88B0FA2}" type="parTrans" cxnId="{62056460-DD35-432B-97C5-9EDFDA0352F1}">
      <dgm:prSet/>
      <dgm:spPr/>
      <dgm:t>
        <a:bodyPr/>
        <a:lstStyle/>
        <a:p>
          <a:endParaRPr lang="en-US"/>
        </a:p>
      </dgm:t>
    </dgm:pt>
    <dgm:pt modelId="{6013BFEB-D95F-481B-9EF5-872E949BA53D}" type="sibTrans" cxnId="{62056460-DD35-432B-97C5-9EDFDA0352F1}">
      <dgm:prSet/>
      <dgm:spPr/>
      <dgm:t>
        <a:bodyPr/>
        <a:lstStyle/>
        <a:p>
          <a:endParaRPr lang="en-US"/>
        </a:p>
      </dgm:t>
    </dgm:pt>
    <dgm:pt modelId="{04F48DAA-3773-4540-9C75-C3CB69AEA724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ADB85975-2C4C-494B-955F-CCE57F4529A4}" type="parTrans" cxnId="{74E2B825-7A52-4F53-9F8A-1935EBCFCEF1}">
      <dgm:prSet/>
      <dgm:spPr/>
      <dgm:t>
        <a:bodyPr/>
        <a:lstStyle/>
        <a:p>
          <a:endParaRPr lang="en-US"/>
        </a:p>
      </dgm:t>
    </dgm:pt>
    <dgm:pt modelId="{BDCB4FAE-671D-4BF7-933B-938E93258F7A}" type="sibTrans" cxnId="{74E2B825-7A52-4F53-9F8A-1935EBCFCEF1}">
      <dgm:prSet/>
      <dgm:spPr/>
      <dgm:t>
        <a:bodyPr/>
        <a:lstStyle/>
        <a:p>
          <a:endParaRPr lang="en-US"/>
        </a:p>
      </dgm:t>
    </dgm:pt>
    <dgm:pt modelId="{7C86FFEC-A29F-47E5-8E06-B2A39B5233FF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C64A3097-5B6E-41B1-B110-BAF67E65FF7C}" type="parTrans" cxnId="{E68F082C-6090-440A-9DB7-D757AC13C3FD}">
      <dgm:prSet/>
      <dgm:spPr/>
      <dgm:t>
        <a:bodyPr/>
        <a:lstStyle/>
        <a:p>
          <a:endParaRPr lang="en-US"/>
        </a:p>
      </dgm:t>
    </dgm:pt>
    <dgm:pt modelId="{433A169D-497C-4A7C-8F34-E205E2A68850}" type="sibTrans" cxnId="{E68F082C-6090-440A-9DB7-D757AC13C3FD}">
      <dgm:prSet/>
      <dgm:spPr/>
      <dgm:t>
        <a:bodyPr/>
        <a:lstStyle/>
        <a:p>
          <a:endParaRPr lang="en-US"/>
        </a:p>
      </dgm:t>
    </dgm:pt>
    <dgm:pt modelId="{F0BFD6E9-973F-4C1A-A86D-86115FB8BBBD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4F9E7152-719B-4B7D-86F2-2EFD9B91F807}" type="parTrans" cxnId="{FE079673-9192-4D19-A9D7-64575ECCDA74}">
      <dgm:prSet/>
      <dgm:spPr/>
      <dgm:t>
        <a:bodyPr/>
        <a:lstStyle/>
        <a:p>
          <a:endParaRPr lang="en-US"/>
        </a:p>
      </dgm:t>
    </dgm:pt>
    <dgm:pt modelId="{E54A5AC9-6167-458C-9063-3A8DB902F23E}" type="sibTrans" cxnId="{FE079673-9192-4D19-A9D7-64575ECCDA74}">
      <dgm:prSet/>
      <dgm:spPr/>
      <dgm:t>
        <a:bodyPr/>
        <a:lstStyle/>
        <a:p>
          <a:endParaRPr lang="en-US"/>
        </a:p>
      </dgm:t>
    </dgm:pt>
    <dgm:pt modelId="{2AA5FE31-A530-40F8-96E3-32233042BEF6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A712068F-59CC-4086-84A7-E824F9EEEED5}" type="parTrans" cxnId="{C5082A06-5D9F-47C2-A929-D56BF0504FE0}">
      <dgm:prSet/>
      <dgm:spPr/>
      <dgm:t>
        <a:bodyPr/>
        <a:lstStyle/>
        <a:p>
          <a:endParaRPr lang="en-US"/>
        </a:p>
      </dgm:t>
    </dgm:pt>
    <dgm:pt modelId="{F76E084D-3797-440B-BE1E-20B8CB8437F1}" type="sibTrans" cxnId="{C5082A06-5D9F-47C2-A929-D56BF0504FE0}">
      <dgm:prSet/>
      <dgm:spPr/>
      <dgm:t>
        <a:bodyPr/>
        <a:lstStyle/>
        <a:p>
          <a:endParaRPr lang="en-US"/>
        </a:p>
      </dgm:t>
    </dgm:pt>
    <dgm:pt modelId="{F50E0E87-F0DD-412B-B012-CF0CC022CF9C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5AF9220E-C3E0-41FF-8E97-8172920A6DBF}" type="parTrans" cxnId="{8AD04F27-B28F-4E23-8299-28AA9E63A229}">
      <dgm:prSet/>
      <dgm:spPr/>
      <dgm:t>
        <a:bodyPr/>
        <a:lstStyle/>
        <a:p>
          <a:endParaRPr lang="en-US"/>
        </a:p>
      </dgm:t>
    </dgm:pt>
    <dgm:pt modelId="{8A716752-B824-4400-A6C7-EB5BE295FFE1}" type="sibTrans" cxnId="{8AD04F27-B28F-4E23-8299-28AA9E63A229}">
      <dgm:prSet/>
      <dgm:spPr/>
      <dgm:t>
        <a:bodyPr/>
        <a:lstStyle/>
        <a:p>
          <a:endParaRPr lang="en-US"/>
        </a:p>
      </dgm:t>
    </dgm:pt>
    <dgm:pt modelId="{E397576D-5C3B-4E42-98E8-028A409AFAB0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7C516925-7D40-4AF4-BF40-D0892246A05C}" type="parTrans" cxnId="{C4894B2A-59FD-4B29-905A-8455F3EAA7FF}">
      <dgm:prSet/>
      <dgm:spPr/>
      <dgm:t>
        <a:bodyPr/>
        <a:lstStyle/>
        <a:p>
          <a:endParaRPr lang="en-US"/>
        </a:p>
      </dgm:t>
    </dgm:pt>
    <dgm:pt modelId="{2CC7D165-4869-436C-A56A-8A6134D8249A}" type="sibTrans" cxnId="{C4894B2A-59FD-4B29-905A-8455F3EAA7FF}">
      <dgm:prSet/>
      <dgm:spPr/>
      <dgm:t>
        <a:bodyPr/>
        <a:lstStyle/>
        <a:p>
          <a:endParaRPr lang="en-US"/>
        </a:p>
      </dgm:t>
    </dgm:pt>
    <dgm:pt modelId="{09485C8E-8C79-481C-A6A4-D5CA441597DD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2C167B31-6B63-477E-9475-DC7E9CB5F58E}" type="parTrans" cxnId="{891CCB81-CDB9-4DDD-8B70-99002C676813}">
      <dgm:prSet/>
      <dgm:spPr/>
      <dgm:t>
        <a:bodyPr/>
        <a:lstStyle/>
        <a:p>
          <a:endParaRPr lang="en-US"/>
        </a:p>
      </dgm:t>
    </dgm:pt>
    <dgm:pt modelId="{85D44E1F-65E0-4191-BAF3-8905CA9E4600}" type="sibTrans" cxnId="{891CCB81-CDB9-4DDD-8B70-99002C676813}">
      <dgm:prSet/>
      <dgm:spPr/>
      <dgm:t>
        <a:bodyPr/>
        <a:lstStyle/>
        <a:p>
          <a:endParaRPr lang="en-US"/>
        </a:p>
      </dgm:t>
    </dgm:pt>
    <dgm:pt modelId="{654640F8-E38E-4BF1-AEC3-DCE2A931DEDA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B7AD721F-9448-4C57-A52B-9E5B1CF6B8EC}" type="parTrans" cxnId="{52B374A7-D26D-471A-99D2-3BD25341595C}">
      <dgm:prSet/>
      <dgm:spPr/>
      <dgm:t>
        <a:bodyPr/>
        <a:lstStyle/>
        <a:p>
          <a:endParaRPr lang="en-US"/>
        </a:p>
      </dgm:t>
    </dgm:pt>
    <dgm:pt modelId="{F9BF3B02-58DE-4764-9577-4D62AA692A16}" type="sibTrans" cxnId="{52B374A7-D26D-471A-99D2-3BD25341595C}">
      <dgm:prSet/>
      <dgm:spPr/>
      <dgm:t>
        <a:bodyPr/>
        <a:lstStyle/>
        <a:p>
          <a:endParaRPr lang="en-US"/>
        </a:p>
      </dgm:t>
    </dgm:pt>
    <dgm:pt modelId="{E1BAD88C-3FB7-49B2-9FB0-37F77F05D2CE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E9985B5D-7FA2-4197-9220-1A0A1A3BAA0E}" type="parTrans" cxnId="{06020AB1-9B45-4FF9-9573-510031495A14}">
      <dgm:prSet/>
      <dgm:spPr/>
      <dgm:t>
        <a:bodyPr/>
        <a:lstStyle/>
        <a:p>
          <a:endParaRPr lang="en-US"/>
        </a:p>
      </dgm:t>
    </dgm:pt>
    <dgm:pt modelId="{B701ACAD-2EBA-4FA4-B8F3-1CDE6C0A2675}" type="sibTrans" cxnId="{06020AB1-9B45-4FF9-9573-510031495A14}">
      <dgm:prSet/>
      <dgm:spPr/>
      <dgm:t>
        <a:bodyPr/>
        <a:lstStyle/>
        <a:p>
          <a:endParaRPr lang="en-US"/>
        </a:p>
      </dgm:t>
    </dgm:pt>
    <dgm:pt modelId="{9A9E1B88-98A2-4CEB-886A-7C7EACF41FF6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4B516D8C-AD5A-4A47-8295-9EFB8384DE52}" type="parTrans" cxnId="{C409F27C-ACB8-407F-8D78-9F5FC182F0EA}">
      <dgm:prSet/>
      <dgm:spPr/>
      <dgm:t>
        <a:bodyPr/>
        <a:lstStyle/>
        <a:p>
          <a:endParaRPr lang="en-US"/>
        </a:p>
      </dgm:t>
    </dgm:pt>
    <dgm:pt modelId="{5E2BA99D-2D58-4A05-A5A8-24800C726424}" type="sibTrans" cxnId="{C409F27C-ACB8-407F-8D78-9F5FC182F0EA}">
      <dgm:prSet/>
      <dgm:spPr/>
      <dgm:t>
        <a:bodyPr/>
        <a:lstStyle/>
        <a:p>
          <a:endParaRPr lang="en-US"/>
        </a:p>
      </dgm:t>
    </dgm:pt>
    <dgm:pt modelId="{2A38BF28-5490-496B-A96D-F3D85C6BDD1B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C6074B8C-DEC4-4F57-89AA-8BC58CDE6FA4}" type="parTrans" cxnId="{870D0991-E55C-4C67-B490-940C1BB14074}">
      <dgm:prSet/>
      <dgm:spPr/>
      <dgm:t>
        <a:bodyPr/>
        <a:lstStyle/>
        <a:p>
          <a:endParaRPr lang="en-US"/>
        </a:p>
      </dgm:t>
    </dgm:pt>
    <dgm:pt modelId="{3F2FC2B1-4D6F-4631-81D0-6A8A00A25062}" type="sibTrans" cxnId="{870D0991-E55C-4C67-B490-940C1BB14074}">
      <dgm:prSet/>
      <dgm:spPr/>
      <dgm:t>
        <a:bodyPr/>
        <a:lstStyle/>
        <a:p>
          <a:endParaRPr lang="en-US"/>
        </a:p>
      </dgm:t>
    </dgm:pt>
    <dgm:pt modelId="{02EA5422-2475-40BA-8A21-A3761ABE1FE7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0C705E2D-3854-448D-87AD-82436F7C2A33}" type="parTrans" cxnId="{05192E49-8CB3-4797-AD1B-5F1CAAD60CB5}">
      <dgm:prSet/>
      <dgm:spPr/>
      <dgm:t>
        <a:bodyPr/>
        <a:lstStyle/>
        <a:p>
          <a:endParaRPr lang="en-US"/>
        </a:p>
      </dgm:t>
    </dgm:pt>
    <dgm:pt modelId="{260D215D-DEB3-454F-8F88-D933FF064026}" type="sibTrans" cxnId="{05192E49-8CB3-4797-AD1B-5F1CAAD60CB5}">
      <dgm:prSet/>
      <dgm:spPr/>
      <dgm:t>
        <a:bodyPr/>
        <a:lstStyle/>
        <a:p>
          <a:endParaRPr lang="en-US"/>
        </a:p>
      </dgm:t>
    </dgm:pt>
    <dgm:pt modelId="{065E6A8E-1D64-4CBF-B46D-C72669644746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566BA80C-5AC5-4F7D-8569-9A3CD140EADC}" type="parTrans" cxnId="{BC024FC0-8BA3-41B0-BC7F-DB0B236A988D}">
      <dgm:prSet/>
      <dgm:spPr/>
      <dgm:t>
        <a:bodyPr/>
        <a:lstStyle/>
        <a:p>
          <a:endParaRPr lang="en-US"/>
        </a:p>
      </dgm:t>
    </dgm:pt>
    <dgm:pt modelId="{14635A9A-4F64-43DE-9CF7-D7F948ABA1F5}" type="sibTrans" cxnId="{BC024FC0-8BA3-41B0-BC7F-DB0B236A988D}">
      <dgm:prSet/>
      <dgm:spPr/>
      <dgm:t>
        <a:bodyPr/>
        <a:lstStyle/>
        <a:p>
          <a:endParaRPr lang="en-US"/>
        </a:p>
      </dgm:t>
    </dgm:pt>
    <dgm:pt modelId="{F6AA3461-59E5-4178-8682-DDF14570D70D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35814C7E-02D3-42B4-BBF2-086AD2AAD555}" type="parTrans" cxnId="{85594B5A-6A33-467C-B6B2-5F18E37E7EE8}">
      <dgm:prSet/>
      <dgm:spPr/>
      <dgm:t>
        <a:bodyPr/>
        <a:lstStyle/>
        <a:p>
          <a:endParaRPr lang="en-US"/>
        </a:p>
      </dgm:t>
    </dgm:pt>
    <dgm:pt modelId="{CCA22FA9-8BF4-41A2-8194-2F4F60EAF0FD}" type="sibTrans" cxnId="{85594B5A-6A33-467C-B6B2-5F18E37E7EE8}">
      <dgm:prSet/>
      <dgm:spPr/>
      <dgm:t>
        <a:bodyPr/>
        <a:lstStyle/>
        <a:p>
          <a:endParaRPr lang="en-US"/>
        </a:p>
      </dgm:t>
    </dgm:pt>
    <dgm:pt modelId="{32F64518-1872-48DA-B16B-95F2CD97BDA5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68318F9A-070B-4964-B8BA-1B94381DB73C}" type="parTrans" cxnId="{30D652E1-78E6-4D87-B694-127CBEC8F69E}">
      <dgm:prSet/>
      <dgm:spPr/>
      <dgm:t>
        <a:bodyPr/>
        <a:lstStyle/>
        <a:p>
          <a:endParaRPr lang="en-US"/>
        </a:p>
      </dgm:t>
    </dgm:pt>
    <dgm:pt modelId="{0CC724CD-02B0-4D7E-8427-335A92A74E26}" type="sibTrans" cxnId="{30D652E1-78E6-4D87-B694-127CBEC8F69E}">
      <dgm:prSet/>
      <dgm:spPr/>
      <dgm:t>
        <a:bodyPr/>
        <a:lstStyle/>
        <a:p>
          <a:endParaRPr lang="en-US"/>
        </a:p>
      </dgm:t>
    </dgm:pt>
    <dgm:pt modelId="{E27A6E06-D669-4635-BB86-B92287B64581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9F469BAA-9A7A-4245-B457-9D64C96B67B7}" type="parTrans" cxnId="{FF56FB2E-834A-4A41-A555-FD3009420CFB}">
      <dgm:prSet/>
      <dgm:spPr/>
      <dgm:t>
        <a:bodyPr/>
        <a:lstStyle/>
        <a:p>
          <a:endParaRPr lang="en-US"/>
        </a:p>
      </dgm:t>
    </dgm:pt>
    <dgm:pt modelId="{E1CDC9D7-B386-4700-B188-806B05B612E2}" type="sibTrans" cxnId="{FF56FB2E-834A-4A41-A555-FD3009420CFB}">
      <dgm:prSet/>
      <dgm:spPr/>
      <dgm:t>
        <a:bodyPr/>
        <a:lstStyle/>
        <a:p>
          <a:endParaRPr lang="en-US"/>
        </a:p>
      </dgm:t>
    </dgm:pt>
    <dgm:pt modelId="{4B6E1CA3-194A-4E02-AC41-93FA6D3C17FC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AAB88197-374B-4B25-8E84-85B6440B7D1B}" type="parTrans" cxnId="{234C2C16-6EA6-4396-946E-5BFF7A75307A}">
      <dgm:prSet/>
      <dgm:spPr/>
      <dgm:t>
        <a:bodyPr/>
        <a:lstStyle/>
        <a:p>
          <a:endParaRPr lang="en-US"/>
        </a:p>
      </dgm:t>
    </dgm:pt>
    <dgm:pt modelId="{ACA069C3-783C-4260-81AD-D3478D729D11}" type="sibTrans" cxnId="{234C2C16-6EA6-4396-946E-5BFF7A75307A}">
      <dgm:prSet/>
      <dgm:spPr/>
      <dgm:t>
        <a:bodyPr/>
        <a:lstStyle/>
        <a:p>
          <a:endParaRPr lang="en-US"/>
        </a:p>
      </dgm:t>
    </dgm:pt>
    <dgm:pt modelId="{050CF0AD-88D1-459F-928D-8CD2BB71B99C}">
      <dgm:prSet phldrT="[Text]"/>
      <dgm:spPr>
        <a:solidFill>
          <a:srgbClr val="002060"/>
        </a:solidFill>
      </dgm:spPr>
      <dgm:t>
        <a:bodyPr/>
        <a:lstStyle/>
        <a:p>
          <a:r>
            <a:rPr lang="en-US"/>
            <a:t>1</a:t>
          </a:r>
        </a:p>
      </dgm:t>
    </dgm:pt>
    <dgm:pt modelId="{79E8D042-158C-4C68-85A5-CBD376CBF449}" type="parTrans" cxnId="{1815D6BA-202A-4073-AD61-F1E823A85E1A}">
      <dgm:prSet/>
      <dgm:spPr/>
      <dgm:t>
        <a:bodyPr/>
        <a:lstStyle/>
        <a:p>
          <a:endParaRPr lang="en-US"/>
        </a:p>
      </dgm:t>
    </dgm:pt>
    <dgm:pt modelId="{C0080002-6F18-4D75-A38E-B6E6065B7812}" type="sibTrans" cxnId="{1815D6BA-202A-4073-AD61-F1E823A85E1A}">
      <dgm:prSet/>
      <dgm:spPr/>
      <dgm:t>
        <a:bodyPr/>
        <a:lstStyle/>
        <a:p>
          <a:endParaRPr lang="en-US"/>
        </a:p>
      </dgm:t>
    </dgm:pt>
    <dgm:pt modelId="{771AF7B4-C8D8-4616-A2B7-5F9CAC081CB7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/>
            <a:t>Vistable</a:t>
          </a:r>
        </a:p>
      </dgm:t>
    </dgm:pt>
    <dgm:pt modelId="{EAC320A3-B65B-4C3D-B7E8-7F94E3E10D10}" type="parTrans" cxnId="{B9075FA6-3FD4-41C7-B13A-7495CFD6DD68}">
      <dgm:prSet/>
      <dgm:spPr/>
      <dgm:t>
        <a:bodyPr/>
        <a:lstStyle/>
        <a:p>
          <a:endParaRPr lang="en-US"/>
        </a:p>
      </dgm:t>
    </dgm:pt>
    <dgm:pt modelId="{AF44F1AF-7473-4AF2-B11E-F197B6F15B94}" type="sibTrans" cxnId="{B9075FA6-3FD4-41C7-B13A-7495CFD6DD68}">
      <dgm:prSet/>
      <dgm:spPr/>
      <dgm:t>
        <a:bodyPr/>
        <a:lstStyle/>
        <a:p>
          <a:endParaRPr lang="en-US"/>
        </a:p>
      </dgm:t>
    </dgm:pt>
    <dgm:pt modelId="{962430D0-BA6A-410E-A008-EDB64C26EFD5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82F17612-AA6F-4111-B970-21CF1CD7E99C}" type="parTrans" cxnId="{A8D58E78-8EC4-4602-8162-5A11BF14EF5A}">
      <dgm:prSet/>
      <dgm:spPr/>
      <dgm:t>
        <a:bodyPr/>
        <a:lstStyle/>
        <a:p>
          <a:endParaRPr lang="en-US"/>
        </a:p>
      </dgm:t>
    </dgm:pt>
    <dgm:pt modelId="{045B5E8F-FB32-45AF-917C-7D561D32E396}" type="sibTrans" cxnId="{A8D58E78-8EC4-4602-8162-5A11BF14EF5A}">
      <dgm:prSet/>
      <dgm:spPr/>
      <dgm:t>
        <a:bodyPr/>
        <a:lstStyle/>
        <a:p>
          <a:endParaRPr lang="en-US"/>
        </a:p>
      </dgm:t>
    </dgm:pt>
    <dgm:pt modelId="{DD6DD099-67BA-4BDD-9CF0-FDA7C124D7C1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DC41D32F-7382-4D7D-8A2A-5D69DC6E586B}" type="parTrans" cxnId="{22538FE6-3E2C-4DF6-B9F6-520B0EBCBAA7}">
      <dgm:prSet/>
      <dgm:spPr/>
      <dgm:t>
        <a:bodyPr/>
        <a:lstStyle/>
        <a:p>
          <a:endParaRPr lang="en-US"/>
        </a:p>
      </dgm:t>
    </dgm:pt>
    <dgm:pt modelId="{FC857F6B-BAA2-4C7D-9D24-EED90B2AC125}" type="sibTrans" cxnId="{22538FE6-3E2C-4DF6-B9F6-520B0EBCBAA7}">
      <dgm:prSet/>
      <dgm:spPr/>
      <dgm:t>
        <a:bodyPr/>
        <a:lstStyle/>
        <a:p>
          <a:endParaRPr lang="en-US"/>
        </a:p>
      </dgm:t>
    </dgm:pt>
    <dgm:pt modelId="{5E1E8C85-F4FB-49BD-9F6E-819CB4EDB311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89AA281E-2A8B-430E-95D9-805F0FDFA7B9}" type="parTrans" cxnId="{38683A5B-2439-44E1-9FAD-AAC3B420B176}">
      <dgm:prSet/>
      <dgm:spPr/>
      <dgm:t>
        <a:bodyPr/>
        <a:lstStyle/>
        <a:p>
          <a:endParaRPr lang="en-US"/>
        </a:p>
      </dgm:t>
    </dgm:pt>
    <dgm:pt modelId="{C75D75A4-CBE9-4F72-BE6F-ABF47D3AEC3D}" type="sibTrans" cxnId="{38683A5B-2439-44E1-9FAD-AAC3B420B176}">
      <dgm:prSet/>
      <dgm:spPr/>
      <dgm:t>
        <a:bodyPr/>
        <a:lstStyle/>
        <a:p>
          <a:endParaRPr lang="en-US"/>
        </a:p>
      </dgm:t>
    </dgm:pt>
    <dgm:pt modelId="{60F0E2C0-A35A-47A1-A177-D4F84F7776F7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8BB502BD-C20B-4E24-8017-73638CAF8123}" type="parTrans" cxnId="{6463C747-76B9-4866-9D1B-75F02C879B7B}">
      <dgm:prSet/>
      <dgm:spPr/>
      <dgm:t>
        <a:bodyPr/>
        <a:lstStyle/>
        <a:p>
          <a:endParaRPr lang="en-US"/>
        </a:p>
      </dgm:t>
    </dgm:pt>
    <dgm:pt modelId="{C2A5997D-5A59-4FAB-84D0-750F4E6CD15F}" type="sibTrans" cxnId="{6463C747-76B9-4866-9D1B-75F02C879B7B}">
      <dgm:prSet/>
      <dgm:spPr/>
      <dgm:t>
        <a:bodyPr/>
        <a:lstStyle/>
        <a:p>
          <a:endParaRPr lang="en-US"/>
        </a:p>
      </dgm:t>
    </dgm:pt>
    <dgm:pt modelId="{ED0F5C24-D527-4B40-A8E3-B57AECA0520A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9B468DBB-CCAA-4CC5-A8FB-32F357825EBB}" type="parTrans" cxnId="{5D83979B-B15B-4506-98A7-507C19FDD086}">
      <dgm:prSet/>
      <dgm:spPr/>
      <dgm:t>
        <a:bodyPr/>
        <a:lstStyle/>
        <a:p>
          <a:endParaRPr lang="en-US"/>
        </a:p>
      </dgm:t>
    </dgm:pt>
    <dgm:pt modelId="{4EC0A90E-96FE-4412-BF7A-891C5EDFA1DC}" type="sibTrans" cxnId="{5D83979B-B15B-4506-98A7-507C19FDD086}">
      <dgm:prSet/>
      <dgm:spPr/>
      <dgm:t>
        <a:bodyPr/>
        <a:lstStyle/>
        <a:p>
          <a:endParaRPr lang="en-US"/>
        </a:p>
      </dgm:t>
    </dgm:pt>
    <dgm:pt modelId="{CD55354C-8929-4278-981F-58E1F8D41A8F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65EFD091-1B84-4F4A-9854-06455092582C}" type="parTrans" cxnId="{51786E7D-B565-4B5E-99D3-273AA84E5F29}">
      <dgm:prSet/>
      <dgm:spPr/>
      <dgm:t>
        <a:bodyPr/>
        <a:lstStyle/>
        <a:p>
          <a:endParaRPr lang="en-US"/>
        </a:p>
      </dgm:t>
    </dgm:pt>
    <dgm:pt modelId="{98EED02E-A48A-4572-9813-A18A6692256D}" type="sibTrans" cxnId="{51786E7D-B565-4B5E-99D3-273AA84E5F29}">
      <dgm:prSet/>
      <dgm:spPr/>
      <dgm:t>
        <a:bodyPr/>
        <a:lstStyle/>
        <a:p>
          <a:endParaRPr lang="en-US"/>
        </a:p>
      </dgm:t>
    </dgm:pt>
    <dgm:pt modelId="{0003066C-8329-4A94-80D4-58EADC4C55D4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777451DC-98FA-4D24-92CC-DF0F221658C8}" type="parTrans" cxnId="{7EF2EA73-CA41-44B9-B169-8DD3F32D5F72}">
      <dgm:prSet/>
      <dgm:spPr/>
      <dgm:t>
        <a:bodyPr/>
        <a:lstStyle/>
        <a:p>
          <a:endParaRPr lang="en-US"/>
        </a:p>
      </dgm:t>
    </dgm:pt>
    <dgm:pt modelId="{30FB3455-9E39-4C77-AA69-44923755C55D}" type="sibTrans" cxnId="{7EF2EA73-CA41-44B9-B169-8DD3F32D5F72}">
      <dgm:prSet/>
      <dgm:spPr/>
      <dgm:t>
        <a:bodyPr/>
        <a:lstStyle/>
        <a:p>
          <a:endParaRPr lang="en-US"/>
        </a:p>
      </dgm:t>
    </dgm:pt>
    <dgm:pt modelId="{B949D102-2C52-4F6D-85A5-BF317065AA8C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1C0067C0-34B2-4A1F-B487-13D89274124C}" type="parTrans" cxnId="{81B78E70-DA04-4786-882D-F35C48DC50FC}">
      <dgm:prSet/>
      <dgm:spPr/>
      <dgm:t>
        <a:bodyPr/>
        <a:lstStyle/>
        <a:p>
          <a:endParaRPr lang="en-US"/>
        </a:p>
      </dgm:t>
    </dgm:pt>
    <dgm:pt modelId="{9D087F44-56DE-4539-8F09-4A5018467D23}" type="sibTrans" cxnId="{81B78E70-DA04-4786-882D-F35C48DC50FC}">
      <dgm:prSet/>
      <dgm:spPr/>
      <dgm:t>
        <a:bodyPr/>
        <a:lstStyle/>
        <a:p>
          <a:endParaRPr lang="en-US"/>
        </a:p>
      </dgm:t>
    </dgm:pt>
    <dgm:pt modelId="{7FEF55C4-D857-4E30-B13A-42E223E87049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3BE8B3D4-1652-41E8-94D2-CE486AE70F45}" type="parTrans" cxnId="{8F9FF26F-ACF8-44E4-AE75-C9C30E366B41}">
      <dgm:prSet/>
      <dgm:spPr/>
      <dgm:t>
        <a:bodyPr/>
        <a:lstStyle/>
        <a:p>
          <a:endParaRPr lang="en-US"/>
        </a:p>
      </dgm:t>
    </dgm:pt>
    <dgm:pt modelId="{B80161ED-443B-4CEB-9FF3-F7078C830E9B}" type="sibTrans" cxnId="{8F9FF26F-ACF8-44E4-AE75-C9C30E366B41}">
      <dgm:prSet/>
      <dgm:spPr/>
      <dgm:t>
        <a:bodyPr/>
        <a:lstStyle/>
        <a:p>
          <a:endParaRPr lang="en-US"/>
        </a:p>
      </dgm:t>
    </dgm:pt>
    <dgm:pt modelId="{81AD932E-1EFE-4B07-AAAB-49C273B1FEF2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Revit</a:t>
          </a:r>
        </a:p>
      </dgm:t>
    </dgm:pt>
    <dgm:pt modelId="{5735CB56-0403-4396-A98D-CA60CC31F45F}" type="parTrans" cxnId="{914D0F2F-B6E1-4A0A-9E52-CB0CC27D2E15}">
      <dgm:prSet/>
      <dgm:spPr/>
      <dgm:t>
        <a:bodyPr/>
        <a:lstStyle/>
        <a:p>
          <a:endParaRPr lang="en-US"/>
        </a:p>
      </dgm:t>
    </dgm:pt>
    <dgm:pt modelId="{D3B43CF0-1DDC-45FE-892A-6B2A7D5D9DA1}" type="sibTrans" cxnId="{914D0F2F-B6E1-4A0A-9E52-CB0CC27D2E15}">
      <dgm:prSet/>
      <dgm:spPr/>
      <dgm:t>
        <a:bodyPr/>
        <a:lstStyle/>
        <a:p>
          <a:endParaRPr lang="en-US"/>
        </a:p>
      </dgm:t>
    </dgm:pt>
    <dgm:pt modelId="{FEB4B16B-9D24-4077-AF3F-DD7E23E73A3F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1</a:t>
          </a:r>
        </a:p>
      </dgm:t>
    </dgm:pt>
    <dgm:pt modelId="{DC1D3EC7-66D3-4244-8BA8-6764E9E88F06}" type="parTrans" cxnId="{B7FAE6A9-34D8-4AB2-B70B-303052B68924}">
      <dgm:prSet/>
      <dgm:spPr/>
      <dgm:t>
        <a:bodyPr/>
        <a:lstStyle/>
        <a:p>
          <a:endParaRPr lang="en-US"/>
        </a:p>
      </dgm:t>
    </dgm:pt>
    <dgm:pt modelId="{FA57C730-94F5-47CB-9AE6-9EC8475356A5}" type="sibTrans" cxnId="{B7FAE6A9-34D8-4AB2-B70B-303052B68924}">
      <dgm:prSet/>
      <dgm:spPr/>
      <dgm:t>
        <a:bodyPr/>
        <a:lstStyle/>
        <a:p>
          <a:endParaRPr lang="en-US"/>
        </a:p>
      </dgm:t>
    </dgm:pt>
    <dgm:pt modelId="{FFE21F60-2745-4019-A3D8-A7858D2C5D3F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2</a:t>
          </a:r>
        </a:p>
      </dgm:t>
    </dgm:pt>
    <dgm:pt modelId="{C76B272C-E73B-47C0-AB79-B4B58303C3EF}" type="parTrans" cxnId="{C988167E-60B3-46E6-9F25-010381BF0D53}">
      <dgm:prSet/>
      <dgm:spPr/>
      <dgm:t>
        <a:bodyPr/>
        <a:lstStyle/>
        <a:p>
          <a:endParaRPr lang="en-US"/>
        </a:p>
      </dgm:t>
    </dgm:pt>
    <dgm:pt modelId="{2011BC61-42C8-4882-8884-76E4D3314F6F}" type="sibTrans" cxnId="{C988167E-60B3-46E6-9F25-010381BF0D53}">
      <dgm:prSet/>
      <dgm:spPr/>
      <dgm:t>
        <a:bodyPr/>
        <a:lstStyle/>
        <a:p>
          <a:endParaRPr lang="en-US"/>
        </a:p>
      </dgm:t>
    </dgm:pt>
    <dgm:pt modelId="{BC5A8ACA-8AA1-4E7A-944E-0D81BEC1F0B9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3</a:t>
          </a:r>
        </a:p>
      </dgm:t>
    </dgm:pt>
    <dgm:pt modelId="{E41C4533-68C0-4899-8535-563338656BD0}" type="parTrans" cxnId="{B4A10353-2785-4C51-A7B9-DA9D11C60C6A}">
      <dgm:prSet/>
      <dgm:spPr/>
      <dgm:t>
        <a:bodyPr/>
        <a:lstStyle/>
        <a:p>
          <a:endParaRPr lang="en-US"/>
        </a:p>
      </dgm:t>
    </dgm:pt>
    <dgm:pt modelId="{48EAC9DE-7AC2-43F5-BE01-7F89063B2A54}" type="sibTrans" cxnId="{B4A10353-2785-4C51-A7B9-DA9D11C60C6A}">
      <dgm:prSet/>
      <dgm:spPr/>
      <dgm:t>
        <a:bodyPr/>
        <a:lstStyle/>
        <a:p>
          <a:endParaRPr lang="en-US"/>
        </a:p>
      </dgm:t>
    </dgm:pt>
    <dgm:pt modelId="{5980077B-6B40-4C24-A9E1-AF3B13F05253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4</a:t>
          </a:r>
        </a:p>
      </dgm:t>
    </dgm:pt>
    <dgm:pt modelId="{F5B7A93F-CFAF-486F-BB78-8D96B645E270}" type="parTrans" cxnId="{F0D9A7A0-B5DB-49F2-AA40-599DF2A982B9}">
      <dgm:prSet/>
      <dgm:spPr/>
      <dgm:t>
        <a:bodyPr/>
        <a:lstStyle/>
        <a:p>
          <a:endParaRPr lang="en-US"/>
        </a:p>
      </dgm:t>
    </dgm:pt>
    <dgm:pt modelId="{A2F49073-6528-4A8D-90B6-D7C56FB408A0}" type="sibTrans" cxnId="{F0D9A7A0-B5DB-49F2-AA40-599DF2A982B9}">
      <dgm:prSet/>
      <dgm:spPr/>
      <dgm:t>
        <a:bodyPr/>
        <a:lstStyle/>
        <a:p>
          <a:endParaRPr lang="en-US"/>
        </a:p>
      </dgm:t>
    </dgm:pt>
    <dgm:pt modelId="{5F1C90BD-CFED-48AA-93D1-764B5464A558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5</a:t>
          </a:r>
        </a:p>
      </dgm:t>
    </dgm:pt>
    <dgm:pt modelId="{2AC00AD4-AFA2-4886-8178-D47CAD5B20FE}" type="parTrans" cxnId="{9A546E0D-6327-428A-8CAF-F8B9C46023B3}">
      <dgm:prSet/>
      <dgm:spPr/>
      <dgm:t>
        <a:bodyPr/>
        <a:lstStyle/>
        <a:p>
          <a:endParaRPr lang="en-US"/>
        </a:p>
      </dgm:t>
    </dgm:pt>
    <dgm:pt modelId="{6640C93E-02F1-4839-8AB8-23D8C3E57474}" type="sibTrans" cxnId="{9A546E0D-6327-428A-8CAF-F8B9C46023B3}">
      <dgm:prSet/>
      <dgm:spPr/>
      <dgm:t>
        <a:bodyPr/>
        <a:lstStyle/>
        <a:p>
          <a:endParaRPr lang="en-US"/>
        </a:p>
      </dgm:t>
    </dgm:pt>
    <dgm:pt modelId="{AB56B749-5EC8-4C6D-9DAF-2A50A2E2A075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6</a:t>
          </a:r>
        </a:p>
      </dgm:t>
    </dgm:pt>
    <dgm:pt modelId="{96C2930F-973F-4429-AC95-72C161F4F931}" type="parTrans" cxnId="{7A4E3178-A14A-4F19-9502-8762B268D0DB}">
      <dgm:prSet/>
      <dgm:spPr/>
      <dgm:t>
        <a:bodyPr/>
        <a:lstStyle/>
        <a:p>
          <a:endParaRPr lang="en-US"/>
        </a:p>
      </dgm:t>
    </dgm:pt>
    <dgm:pt modelId="{C5DFE2D0-8A93-4417-BFB8-88BE7FD51C0B}" type="sibTrans" cxnId="{7A4E3178-A14A-4F19-9502-8762B268D0DB}">
      <dgm:prSet/>
      <dgm:spPr/>
      <dgm:t>
        <a:bodyPr/>
        <a:lstStyle/>
        <a:p>
          <a:endParaRPr lang="en-US"/>
        </a:p>
      </dgm:t>
    </dgm:pt>
    <dgm:pt modelId="{8DB5E133-324C-4383-8123-3AAD0DECBDCF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7</a:t>
          </a:r>
        </a:p>
      </dgm:t>
    </dgm:pt>
    <dgm:pt modelId="{B02A0E7B-C95C-42AD-9EB0-2251B989AD66}" type="parTrans" cxnId="{70A497B8-FA56-4F47-BA1C-B3EA30E52427}">
      <dgm:prSet/>
      <dgm:spPr/>
      <dgm:t>
        <a:bodyPr/>
        <a:lstStyle/>
        <a:p>
          <a:endParaRPr lang="en-US"/>
        </a:p>
      </dgm:t>
    </dgm:pt>
    <dgm:pt modelId="{74EC1D87-B80C-424B-AA92-FD55B39E27AA}" type="sibTrans" cxnId="{70A497B8-FA56-4F47-BA1C-B3EA30E52427}">
      <dgm:prSet/>
      <dgm:spPr/>
      <dgm:t>
        <a:bodyPr/>
        <a:lstStyle/>
        <a:p>
          <a:endParaRPr lang="en-US"/>
        </a:p>
      </dgm:t>
    </dgm:pt>
    <dgm:pt modelId="{D00BDA0F-5677-43D2-9C73-92A9B5451503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8</a:t>
          </a:r>
        </a:p>
      </dgm:t>
    </dgm:pt>
    <dgm:pt modelId="{699BF82E-B111-4ACB-92AB-ED955BAEF79B}" type="parTrans" cxnId="{9A733DE9-6C01-43DA-8447-8FB3F4DA4C24}">
      <dgm:prSet/>
      <dgm:spPr/>
      <dgm:t>
        <a:bodyPr/>
        <a:lstStyle/>
        <a:p>
          <a:endParaRPr lang="en-US"/>
        </a:p>
      </dgm:t>
    </dgm:pt>
    <dgm:pt modelId="{B71B0389-723B-4316-BA22-60D793A34195}" type="sibTrans" cxnId="{9A733DE9-6C01-43DA-8447-8FB3F4DA4C24}">
      <dgm:prSet/>
      <dgm:spPr/>
      <dgm:t>
        <a:bodyPr/>
        <a:lstStyle/>
        <a:p>
          <a:endParaRPr lang="en-US"/>
        </a:p>
      </dgm:t>
    </dgm:pt>
    <dgm:pt modelId="{D0F58FD9-C79D-40AA-9A3D-BBD6A6043CA8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9</a:t>
          </a:r>
        </a:p>
      </dgm:t>
    </dgm:pt>
    <dgm:pt modelId="{3E7EA8C8-2F36-4EDB-B72F-33B0CD33E894}" type="parTrans" cxnId="{2A0FF90A-7E08-42BC-A8E6-54340660B713}">
      <dgm:prSet/>
      <dgm:spPr/>
      <dgm:t>
        <a:bodyPr/>
        <a:lstStyle/>
        <a:p>
          <a:endParaRPr lang="en-US"/>
        </a:p>
      </dgm:t>
    </dgm:pt>
    <dgm:pt modelId="{1CA014FA-F51D-48B4-87A2-494DDDF21512}" type="sibTrans" cxnId="{2A0FF90A-7E08-42BC-A8E6-54340660B713}">
      <dgm:prSet/>
      <dgm:spPr/>
      <dgm:t>
        <a:bodyPr/>
        <a:lstStyle/>
        <a:p>
          <a:endParaRPr lang="en-US"/>
        </a:p>
      </dgm:t>
    </dgm:pt>
    <dgm:pt modelId="{E9C4DEF3-9170-4FE6-B7DE-649F4DF90271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10</a:t>
          </a:r>
        </a:p>
      </dgm:t>
    </dgm:pt>
    <dgm:pt modelId="{B4326B02-4A74-413A-8151-B20674E3FDEE}" type="parTrans" cxnId="{4C944CF8-3A72-4039-9AD1-D62D4D1286E8}">
      <dgm:prSet/>
      <dgm:spPr/>
      <dgm:t>
        <a:bodyPr/>
        <a:lstStyle/>
        <a:p>
          <a:endParaRPr lang="en-US"/>
        </a:p>
      </dgm:t>
    </dgm:pt>
    <dgm:pt modelId="{031D05D3-9DF9-406D-8D2A-EB504D2F4B6F}" type="sibTrans" cxnId="{4C944CF8-3A72-4039-9AD1-D62D4D1286E8}">
      <dgm:prSet/>
      <dgm:spPr/>
      <dgm:t>
        <a:bodyPr/>
        <a:lstStyle/>
        <a:p>
          <a:endParaRPr lang="en-US"/>
        </a:p>
      </dgm:t>
    </dgm:pt>
    <dgm:pt modelId="{D15C9986-12BF-421B-A306-FED6DED62317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11</a:t>
          </a:r>
        </a:p>
      </dgm:t>
    </dgm:pt>
    <dgm:pt modelId="{312BBC4A-71BA-4FF1-A7AF-4BD8B3617FD4}" type="parTrans" cxnId="{D3D903D3-8EFA-4A22-95AF-139BD1C6195D}">
      <dgm:prSet/>
      <dgm:spPr/>
      <dgm:t>
        <a:bodyPr/>
        <a:lstStyle/>
        <a:p>
          <a:endParaRPr lang="en-US"/>
        </a:p>
      </dgm:t>
    </dgm:pt>
    <dgm:pt modelId="{E6B8F899-C4DA-412C-94C7-19E515BDC815}" type="sibTrans" cxnId="{D3D903D3-8EFA-4A22-95AF-139BD1C6195D}">
      <dgm:prSet/>
      <dgm:spPr/>
      <dgm:t>
        <a:bodyPr/>
        <a:lstStyle/>
        <a:p>
          <a:endParaRPr lang="en-US"/>
        </a:p>
      </dgm:t>
    </dgm:pt>
    <dgm:pt modelId="{8D47409D-B2BD-4729-B1A6-80CCCC0837F6}">
      <dgm:prSet phldrT="[Text]"/>
      <dgm:spPr>
        <a:solidFill>
          <a:srgbClr val="0070C0"/>
        </a:solidFill>
      </dgm:spPr>
      <dgm:t>
        <a:bodyPr/>
        <a:lstStyle/>
        <a:p>
          <a:r>
            <a:rPr lang="en-US"/>
            <a:t>12</a:t>
          </a:r>
        </a:p>
      </dgm:t>
    </dgm:pt>
    <dgm:pt modelId="{65F0DE9F-27BC-4E8C-8DAE-1C5072173252}" type="parTrans" cxnId="{511A2439-1878-455A-9DFE-EDB78FB2A81D}">
      <dgm:prSet/>
      <dgm:spPr/>
      <dgm:t>
        <a:bodyPr/>
        <a:lstStyle/>
        <a:p>
          <a:endParaRPr lang="en-US"/>
        </a:p>
      </dgm:t>
    </dgm:pt>
    <dgm:pt modelId="{AD952D94-A859-4236-9D9F-59BD232E954F}" type="sibTrans" cxnId="{511A2439-1878-455A-9DFE-EDB78FB2A81D}">
      <dgm:prSet/>
      <dgm:spPr/>
      <dgm:t>
        <a:bodyPr/>
        <a:lstStyle/>
        <a:p>
          <a:endParaRPr lang="en-US"/>
        </a:p>
      </dgm:t>
    </dgm:pt>
    <dgm:pt modelId="{0947A48E-BDEA-46BC-B8EB-5CD78FF7026F}">
      <dgm:prSet phldrT="[Text]"/>
      <dgm:spPr>
        <a:solidFill>
          <a:srgbClr val="C00000"/>
        </a:solidFill>
      </dgm:spPr>
      <dgm:t>
        <a:bodyPr/>
        <a:lstStyle/>
        <a:p>
          <a:r>
            <a:rPr lang="en-US"/>
            <a:t>Factory Design Tools</a:t>
          </a:r>
        </a:p>
      </dgm:t>
    </dgm:pt>
    <dgm:pt modelId="{9301DC11-9034-4596-90E5-BF57E29BA91B}" type="parTrans" cxnId="{33278CEC-2EEE-456E-A2B2-DC9708D5E4AB}">
      <dgm:prSet/>
      <dgm:spPr/>
      <dgm:t>
        <a:bodyPr/>
        <a:lstStyle/>
        <a:p>
          <a:endParaRPr lang="en-US"/>
        </a:p>
      </dgm:t>
    </dgm:pt>
    <dgm:pt modelId="{1B857044-6C87-4473-BAED-B9C7C7DB2B4F}" type="sibTrans" cxnId="{33278CEC-2EEE-456E-A2B2-DC9708D5E4AB}">
      <dgm:prSet/>
      <dgm:spPr/>
      <dgm:t>
        <a:bodyPr/>
        <a:lstStyle/>
        <a:p>
          <a:endParaRPr lang="en-US"/>
        </a:p>
      </dgm:t>
    </dgm:pt>
    <dgm:pt modelId="{D48D04C7-1E8F-474D-860C-7878B2F04AF7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B57B327C-7FFD-4520-990F-3E1F7AB347CB}" type="parTrans" cxnId="{3517AAE6-5E0B-4BD9-9925-4A9408751873}">
      <dgm:prSet/>
      <dgm:spPr/>
      <dgm:t>
        <a:bodyPr/>
        <a:lstStyle/>
        <a:p>
          <a:endParaRPr lang="en-US"/>
        </a:p>
      </dgm:t>
    </dgm:pt>
    <dgm:pt modelId="{35C2008A-1A1D-4001-BB82-C41120761628}" type="sibTrans" cxnId="{3517AAE6-5E0B-4BD9-9925-4A9408751873}">
      <dgm:prSet/>
      <dgm:spPr/>
      <dgm:t>
        <a:bodyPr/>
        <a:lstStyle/>
        <a:p>
          <a:endParaRPr lang="en-US"/>
        </a:p>
      </dgm:t>
    </dgm:pt>
    <dgm:pt modelId="{124D71EF-1890-4B20-8144-9786416977BA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3E9CD349-4ABC-44E5-B261-A886F20A205E}" type="parTrans" cxnId="{AC513082-11DE-4851-9CD5-1D75D5518309}">
      <dgm:prSet/>
      <dgm:spPr/>
      <dgm:t>
        <a:bodyPr/>
        <a:lstStyle/>
        <a:p>
          <a:endParaRPr lang="en-US"/>
        </a:p>
      </dgm:t>
    </dgm:pt>
    <dgm:pt modelId="{F6EF60A4-8B6E-40A1-A041-47ECCFCC521D}" type="sibTrans" cxnId="{AC513082-11DE-4851-9CD5-1D75D5518309}">
      <dgm:prSet/>
      <dgm:spPr/>
      <dgm:t>
        <a:bodyPr/>
        <a:lstStyle/>
        <a:p>
          <a:endParaRPr lang="en-US"/>
        </a:p>
      </dgm:t>
    </dgm:pt>
    <dgm:pt modelId="{7590270C-96F2-4BB3-BC8F-B16D3FD94F96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F78838CA-03C6-4B56-A9EA-5DD1686C8EAC}" type="parTrans" cxnId="{BE1DC8A6-12F3-4487-AF59-9B4E55C7B3A5}">
      <dgm:prSet/>
      <dgm:spPr/>
      <dgm:t>
        <a:bodyPr/>
        <a:lstStyle/>
        <a:p>
          <a:endParaRPr lang="en-US"/>
        </a:p>
      </dgm:t>
    </dgm:pt>
    <dgm:pt modelId="{805B11F4-0164-40C9-8C3E-6F2861EADFCD}" type="sibTrans" cxnId="{BE1DC8A6-12F3-4487-AF59-9B4E55C7B3A5}">
      <dgm:prSet/>
      <dgm:spPr/>
      <dgm:t>
        <a:bodyPr/>
        <a:lstStyle/>
        <a:p>
          <a:endParaRPr lang="en-US"/>
        </a:p>
      </dgm:t>
    </dgm:pt>
    <dgm:pt modelId="{1C9B8ACF-6C3E-4CA5-A077-34F00D9B846D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D012DA67-4839-4EBC-923C-C5D5E2B03FBB}" type="parTrans" cxnId="{E9AFDDF0-B8BA-4854-8FFF-FB048473DBCD}">
      <dgm:prSet/>
      <dgm:spPr/>
      <dgm:t>
        <a:bodyPr/>
        <a:lstStyle/>
        <a:p>
          <a:endParaRPr lang="en-US"/>
        </a:p>
      </dgm:t>
    </dgm:pt>
    <dgm:pt modelId="{E68F6961-E5F5-41CA-84AD-CAF735C30FFB}" type="sibTrans" cxnId="{E9AFDDF0-B8BA-4854-8FFF-FB048473DBCD}">
      <dgm:prSet/>
      <dgm:spPr/>
      <dgm:t>
        <a:bodyPr/>
        <a:lstStyle/>
        <a:p>
          <a:endParaRPr lang="en-US"/>
        </a:p>
      </dgm:t>
    </dgm:pt>
    <dgm:pt modelId="{53609979-2DA1-4B09-9786-C7A908B3D825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7DDD517E-ED2C-4D32-B46A-B3E33851D950}" type="parTrans" cxnId="{2D43A1B8-93F3-415A-AB21-72D2E5EA4B48}">
      <dgm:prSet/>
      <dgm:spPr/>
      <dgm:t>
        <a:bodyPr/>
        <a:lstStyle/>
        <a:p>
          <a:endParaRPr lang="en-US"/>
        </a:p>
      </dgm:t>
    </dgm:pt>
    <dgm:pt modelId="{F9000D37-5699-42E3-AE35-F547FB3D5568}" type="sibTrans" cxnId="{2D43A1B8-93F3-415A-AB21-72D2E5EA4B48}">
      <dgm:prSet/>
      <dgm:spPr/>
      <dgm:t>
        <a:bodyPr/>
        <a:lstStyle/>
        <a:p>
          <a:endParaRPr lang="en-US"/>
        </a:p>
      </dgm:t>
    </dgm:pt>
    <dgm:pt modelId="{48FC338D-A476-4C10-A799-613B23248D88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3528B26E-9ACE-4585-AFC7-812400523FCE}" type="parTrans" cxnId="{16833A50-8D12-4DAB-80BF-EEDB99F1FB48}">
      <dgm:prSet/>
      <dgm:spPr/>
      <dgm:t>
        <a:bodyPr/>
        <a:lstStyle/>
        <a:p>
          <a:endParaRPr lang="en-US"/>
        </a:p>
      </dgm:t>
    </dgm:pt>
    <dgm:pt modelId="{4C195970-4D3D-40C2-8C5F-7C435B78BE3C}" type="sibTrans" cxnId="{16833A50-8D12-4DAB-80BF-EEDB99F1FB48}">
      <dgm:prSet/>
      <dgm:spPr/>
      <dgm:t>
        <a:bodyPr/>
        <a:lstStyle/>
        <a:p>
          <a:endParaRPr lang="en-US"/>
        </a:p>
      </dgm:t>
    </dgm:pt>
    <dgm:pt modelId="{5A1F7174-7B30-4AE6-AD8C-5245CD333DED}">
      <dgm:prSet phldrT="[Text]"/>
      <dgm:spPr>
        <a:solidFill>
          <a:srgbClr val="FFC000"/>
        </a:solidFill>
      </dgm:spPr>
      <dgm:t>
        <a:bodyPr/>
        <a:lstStyle/>
        <a:p>
          <a:r>
            <a:rPr lang="en-US"/>
            <a:t>Layout + Logistics KPI’s</a:t>
          </a:r>
        </a:p>
      </dgm:t>
    </dgm:pt>
    <dgm:pt modelId="{9201D496-EF29-4D2E-B73F-635DE17DD6E8}" type="parTrans" cxnId="{E9880458-2490-4D28-9937-E33C9469073D}">
      <dgm:prSet/>
      <dgm:spPr/>
      <dgm:t>
        <a:bodyPr/>
        <a:lstStyle/>
        <a:p>
          <a:endParaRPr lang="en-US"/>
        </a:p>
      </dgm:t>
    </dgm:pt>
    <dgm:pt modelId="{1269843A-23B4-4222-A832-29CF4664ACCB}" type="sibTrans" cxnId="{E9880458-2490-4D28-9937-E33C9469073D}">
      <dgm:prSet/>
      <dgm:spPr/>
      <dgm:t>
        <a:bodyPr/>
        <a:lstStyle/>
        <a:p>
          <a:endParaRPr lang="en-US"/>
        </a:p>
      </dgm:t>
    </dgm:pt>
    <dgm:pt modelId="{C37DD6F8-3C28-4B74-96AF-2091F749C42B}">
      <dgm:prSet phldrT="[Text]"/>
      <dgm:spPr>
        <a:solidFill>
          <a:srgbClr val="C00000"/>
        </a:solidFill>
      </dgm:spPr>
      <dgm:t>
        <a:bodyPr/>
        <a:lstStyle/>
        <a:p>
          <a:endParaRPr lang="en-US" dirty="0"/>
        </a:p>
      </dgm:t>
    </dgm:pt>
    <dgm:pt modelId="{86AF68E6-7586-488F-A3F8-2A70A9833C0C}" type="parTrans" cxnId="{25114A0C-A915-4B45-92A8-C3FAFC082665}">
      <dgm:prSet/>
      <dgm:spPr/>
      <dgm:t>
        <a:bodyPr/>
        <a:lstStyle/>
        <a:p>
          <a:endParaRPr lang="en-US"/>
        </a:p>
      </dgm:t>
    </dgm:pt>
    <dgm:pt modelId="{6FABD876-18A1-478F-9982-12AB202F19EB}" type="sibTrans" cxnId="{25114A0C-A915-4B45-92A8-C3FAFC082665}">
      <dgm:prSet/>
      <dgm:spPr/>
      <dgm:t>
        <a:bodyPr/>
        <a:lstStyle/>
        <a:p>
          <a:endParaRPr lang="en-US"/>
        </a:p>
      </dgm:t>
    </dgm:pt>
    <dgm:pt modelId="{B1344875-4773-4F11-BEC4-69EFB76B7E5F}" type="pres">
      <dgm:prSet presAssocID="{6B058896-2F27-40A8-A39A-528828759DE7}" presName="Name0" presStyleCnt="0">
        <dgm:presLayoutVars>
          <dgm:chMax val="7"/>
          <dgm:dir/>
          <dgm:animOne val="branch"/>
        </dgm:presLayoutVars>
      </dgm:prSet>
      <dgm:spPr/>
    </dgm:pt>
    <dgm:pt modelId="{1366FEE6-18BF-4FBA-9CBA-BDE478DB8E85}" type="pres">
      <dgm:prSet presAssocID="{ED9B2AA3-B886-4718-9515-BD25C877AC91}" presName="parTx1" presStyleLbl="node1" presStyleIdx="0" presStyleCnt="4" custScaleX="300619" custScaleY="271387"/>
      <dgm:spPr/>
    </dgm:pt>
    <dgm:pt modelId="{32843EA3-3241-4A7A-BF7D-AA4BF511F6A8}" type="pres">
      <dgm:prSet presAssocID="{ED9B2AA3-B886-4718-9515-BD25C877AC91}" presName="spPre1" presStyleCnt="0"/>
      <dgm:spPr/>
    </dgm:pt>
    <dgm:pt modelId="{20F558B3-62D1-442A-8F6D-02081418AEE5}" type="pres">
      <dgm:prSet presAssocID="{ED9B2AA3-B886-4718-9515-BD25C877AC91}" presName="chLin1" presStyleCnt="0"/>
      <dgm:spPr/>
    </dgm:pt>
    <dgm:pt modelId="{58F7E63D-8453-4265-94D4-A69268DA60FD}" type="pres">
      <dgm:prSet presAssocID="{A181C4D2-3CF2-45E4-9EA5-B7564BEC073F}" presName="Name11" presStyleLbl="parChTrans1D1" presStyleIdx="0" presStyleCnt="226"/>
      <dgm:spPr/>
    </dgm:pt>
    <dgm:pt modelId="{B13BC29D-1B95-45E2-9354-894505535681}" type="pres">
      <dgm:prSet presAssocID="{A181C4D2-3CF2-45E4-9EA5-B7564BEC073F}" presName="Name31" presStyleLbl="parChTrans1D1" presStyleIdx="1" presStyleCnt="226"/>
      <dgm:spPr/>
    </dgm:pt>
    <dgm:pt modelId="{A4775A3B-F4D6-4BBB-9E28-75D9E8D72F06}" type="pres">
      <dgm:prSet presAssocID="{FC37ED9B-8338-4944-B9D9-1A9B2CC315E1}" presName="txAndLines1" presStyleCnt="0"/>
      <dgm:spPr/>
    </dgm:pt>
    <dgm:pt modelId="{63C476A8-3006-4533-94D7-5CAECFBEB781}" type="pres">
      <dgm:prSet presAssocID="{FC37ED9B-8338-4944-B9D9-1A9B2CC315E1}" presName="anchor1" presStyleCnt="0"/>
      <dgm:spPr/>
    </dgm:pt>
    <dgm:pt modelId="{72BD4A2C-082D-4DFF-AACD-E13FD45358F9}" type="pres">
      <dgm:prSet presAssocID="{FC37ED9B-8338-4944-B9D9-1A9B2CC315E1}" presName="backup1" presStyleCnt="0"/>
      <dgm:spPr/>
    </dgm:pt>
    <dgm:pt modelId="{6D931BFD-FAAF-461F-9CFF-FD1A80490E11}" type="pres">
      <dgm:prSet presAssocID="{FC37ED9B-8338-4944-B9D9-1A9B2CC315E1}" presName="preLine1" presStyleLbl="parChTrans1D1" presStyleIdx="2" presStyleCnt="226"/>
      <dgm:spPr/>
    </dgm:pt>
    <dgm:pt modelId="{541090A3-35AC-4C84-B2CC-096EEEDCEA1E}" type="pres">
      <dgm:prSet presAssocID="{FC37ED9B-8338-4944-B9D9-1A9B2CC315E1}" presName="desTx1" presStyleLbl="revTx" presStyleIdx="0" presStyleCnt="0">
        <dgm:presLayoutVars>
          <dgm:bulletEnabled val="1"/>
        </dgm:presLayoutVars>
      </dgm:prSet>
      <dgm:spPr/>
    </dgm:pt>
    <dgm:pt modelId="{3B1BFC5C-0A69-426B-ABF3-2CE636A77C17}" type="pres">
      <dgm:prSet presAssocID="{FC37ED9B-8338-4944-B9D9-1A9B2CC315E1}" presName="postLine1" presStyleLbl="parChTrans1D1" presStyleIdx="3" presStyleCnt="226"/>
      <dgm:spPr/>
    </dgm:pt>
    <dgm:pt modelId="{FD3380D8-F134-4AD2-A621-32C1DEA3672D}" type="pres">
      <dgm:prSet presAssocID="{8E56D59F-B7B8-4D2C-AC2C-635AB4ED87B8}" presName="Name11" presStyleLbl="parChTrans1D1" presStyleIdx="4" presStyleCnt="226"/>
      <dgm:spPr/>
    </dgm:pt>
    <dgm:pt modelId="{2A38597A-D87E-4DC6-9FC8-8484227EEBFD}" type="pres">
      <dgm:prSet presAssocID="{8E56D59F-B7B8-4D2C-AC2C-635AB4ED87B8}" presName="Name31" presStyleLbl="parChTrans1D1" presStyleIdx="5" presStyleCnt="226"/>
      <dgm:spPr/>
    </dgm:pt>
    <dgm:pt modelId="{DEB661CE-DD1C-4688-A30C-401F8E39670B}" type="pres">
      <dgm:prSet presAssocID="{BB4757E1-774D-4718-85F1-270AD90ED1BF}" presName="txAndLines1" presStyleCnt="0"/>
      <dgm:spPr/>
    </dgm:pt>
    <dgm:pt modelId="{059C1C81-97E1-43BD-B705-4ACBD793DDCD}" type="pres">
      <dgm:prSet presAssocID="{BB4757E1-774D-4718-85F1-270AD90ED1BF}" presName="anchor1" presStyleCnt="0"/>
      <dgm:spPr/>
    </dgm:pt>
    <dgm:pt modelId="{3F308BDD-CF95-4592-9B7A-33608BFC2CD4}" type="pres">
      <dgm:prSet presAssocID="{BB4757E1-774D-4718-85F1-270AD90ED1BF}" presName="backup1" presStyleCnt="0"/>
      <dgm:spPr/>
    </dgm:pt>
    <dgm:pt modelId="{C3AA3542-4CF9-49EF-8903-7BB43849E1D0}" type="pres">
      <dgm:prSet presAssocID="{BB4757E1-774D-4718-85F1-270AD90ED1BF}" presName="preLine1" presStyleLbl="parChTrans1D1" presStyleIdx="6" presStyleCnt="226"/>
      <dgm:spPr/>
    </dgm:pt>
    <dgm:pt modelId="{F82E1769-B4D9-4591-9AE2-7D6939AF515F}" type="pres">
      <dgm:prSet presAssocID="{BB4757E1-774D-4718-85F1-270AD90ED1BF}" presName="desTx1" presStyleLbl="revTx" presStyleIdx="0" presStyleCnt="0">
        <dgm:presLayoutVars>
          <dgm:bulletEnabled val="1"/>
        </dgm:presLayoutVars>
      </dgm:prSet>
      <dgm:spPr/>
    </dgm:pt>
    <dgm:pt modelId="{7AF3F0A1-6F3B-43A9-983A-2FEE9CD0FB18}" type="pres">
      <dgm:prSet presAssocID="{BB4757E1-774D-4718-85F1-270AD90ED1BF}" presName="postLine1" presStyleLbl="parChTrans1D1" presStyleIdx="7" presStyleCnt="226"/>
      <dgm:spPr/>
    </dgm:pt>
    <dgm:pt modelId="{6876FACF-268E-44C5-B91F-0935F77BC323}" type="pres">
      <dgm:prSet presAssocID="{083164DA-E003-44CA-A65F-B36DAF85A5D5}" presName="Name11" presStyleLbl="parChTrans1D1" presStyleIdx="8" presStyleCnt="226"/>
      <dgm:spPr/>
    </dgm:pt>
    <dgm:pt modelId="{D1AB7538-21AF-41FA-B68A-01FE4D37F394}" type="pres">
      <dgm:prSet presAssocID="{083164DA-E003-44CA-A65F-B36DAF85A5D5}" presName="Name31" presStyleLbl="parChTrans1D1" presStyleIdx="9" presStyleCnt="226"/>
      <dgm:spPr/>
    </dgm:pt>
    <dgm:pt modelId="{84DCA7D1-C226-4510-BC84-413B011DDF66}" type="pres">
      <dgm:prSet presAssocID="{41853CCD-137A-4248-B5B8-408D7954ABA8}" presName="txAndLines1" presStyleCnt="0"/>
      <dgm:spPr/>
    </dgm:pt>
    <dgm:pt modelId="{D6BBCB42-5FCC-4BFA-972C-66207CFDDF7D}" type="pres">
      <dgm:prSet presAssocID="{41853CCD-137A-4248-B5B8-408D7954ABA8}" presName="anchor1" presStyleCnt="0"/>
      <dgm:spPr/>
    </dgm:pt>
    <dgm:pt modelId="{66D6A1F2-FD3E-4B00-A9DE-6DCBAEC6B002}" type="pres">
      <dgm:prSet presAssocID="{41853CCD-137A-4248-B5B8-408D7954ABA8}" presName="backup1" presStyleCnt="0"/>
      <dgm:spPr/>
    </dgm:pt>
    <dgm:pt modelId="{DC28644F-3F10-4CA1-A491-E2C871259517}" type="pres">
      <dgm:prSet presAssocID="{41853CCD-137A-4248-B5B8-408D7954ABA8}" presName="preLine1" presStyleLbl="parChTrans1D1" presStyleIdx="10" presStyleCnt="226"/>
      <dgm:spPr/>
    </dgm:pt>
    <dgm:pt modelId="{A56E14CA-CB8A-44E5-938D-027CC7815CF4}" type="pres">
      <dgm:prSet presAssocID="{41853CCD-137A-4248-B5B8-408D7954ABA8}" presName="desTx1" presStyleLbl="revTx" presStyleIdx="0" presStyleCnt="0">
        <dgm:presLayoutVars>
          <dgm:bulletEnabled val="1"/>
        </dgm:presLayoutVars>
      </dgm:prSet>
      <dgm:spPr/>
    </dgm:pt>
    <dgm:pt modelId="{8630DA2A-038F-4ABF-B38E-0EA5DA02FC36}" type="pres">
      <dgm:prSet presAssocID="{41853CCD-137A-4248-B5B8-408D7954ABA8}" presName="postLine1" presStyleLbl="parChTrans1D1" presStyleIdx="11" presStyleCnt="226"/>
      <dgm:spPr/>
    </dgm:pt>
    <dgm:pt modelId="{BFA03A57-57E9-456A-9D9A-863E37B5A613}" type="pres">
      <dgm:prSet presAssocID="{7A5E3FCA-05AE-417D-8D3D-90D5F1E050FB}" presName="Name11" presStyleLbl="parChTrans1D1" presStyleIdx="12" presStyleCnt="226"/>
      <dgm:spPr/>
    </dgm:pt>
    <dgm:pt modelId="{BC258F88-FFD4-4E87-8C3D-FBCE6D006A7F}" type="pres">
      <dgm:prSet presAssocID="{7A5E3FCA-05AE-417D-8D3D-90D5F1E050FB}" presName="Name31" presStyleLbl="parChTrans1D1" presStyleIdx="13" presStyleCnt="226"/>
      <dgm:spPr/>
    </dgm:pt>
    <dgm:pt modelId="{6C02EF52-048B-4897-B171-B84548B9685D}" type="pres">
      <dgm:prSet presAssocID="{07F60B7E-FEC6-49B4-B64F-85D78C21459E}" presName="txAndLines1" presStyleCnt="0"/>
      <dgm:spPr/>
    </dgm:pt>
    <dgm:pt modelId="{4B0D67AF-9FAE-4889-AB0E-80939E285FBF}" type="pres">
      <dgm:prSet presAssocID="{07F60B7E-FEC6-49B4-B64F-85D78C21459E}" presName="anchor1" presStyleCnt="0"/>
      <dgm:spPr/>
    </dgm:pt>
    <dgm:pt modelId="{99BAED0B-62FC-4F63-971D-E3CB8CBFA3A7}" type="pres">
      <dgm:prSet presAssocID="{07F60B7E-FEC6-49B4-B64F-85D78C21459E}" presName="backup1" presStyleCnt="0"/>
      <dgm:spPr/>
    </dgm:pt>
    <dgm:pt modelId="{4FE000F4-F522-4E41-A4FB-821053A1F4A6}" type="pres">
      <dgm:prSet presAssocID="{07F60B7E-FEC6-49B4-B64F-85D78C21459E}" presName="preLine1" presStyleLbl="parChTrans1D1" presStyleIdx="14" presStyleCnt="226"/>
      <dgm:spPr/>
    </dgm:pt>
    <dgm:pt modelId="{263A2AC7-A989-4575-9E10-487E49679FBB}" type="pres">
      <dgm:prSet presAssocID="{07F60B7E-FEC6-49B4-B64F-85D78C21459E}" presName="desTx1" presStyleLbl="revTx" presStyleIdx="0" presStyleCnt="0">
        <dgm:presLayoutVars>
          <dgm:bulletEnabled val="1"/>
        </dgm:presLayoutVars>
      </dgm:prSet>
      <dgm:spPr/>
    </dgm:pt>
    <dgm:pt modelId="{4B52820F-72FA-4FA7-A93C-2E42C3BE1B96}" type="pres">
      <dgm:prSet presAssocID="{07F60B7E-FEC6-49B4-B64F-85D78C21459E}" presName="postLine1" presStyleLbl="parChTrans1D1" presStyleIdx="15" presStyleCnt="226"/>
      <dgm:spPr/>
    </dgm:pt>
    <dgm:pt modelId="{0FFE6151-404F-40DE-A5B0-7D292580A594}" type="pres">
      <dgm:prSet presAssocID="{39391323-3DDC-4CE1-9A50-97C1A23CC3E8}" presName="Name11" presStyleLbl="parChTrans1D1" presStyleIdx="16" presStyleCnt="226"/>
      <dgm:spPr/>
    </dgm:pt>
    <dgm:pt modelId="{6C368D13-8814-46DB-9AEC-05548F8AB4CA}" type="pres">
      <dgm:prSet presAssocID="{39391323-3DDC-4CE1-9A50-97C1A23CC3E8}" presName="Name31" presStyleLbl="parChTrans1D1" presStyleIdx="17" presStyleCnt="226"/>
      <dgm:spPr/>
    </dgm:pt>
    <dgm:pt modelId="{7231DBD2-5FF1-4118-9639-067CE93D5B13}" type="pres">
      <dgm:prSet presAssocID="{E5C776D5-0CAD-4B6B-9424-975303162719}" presName="txAndLines1" presStyleCnt="0"/>
      <dgm:spPr/>
    </dgm:pt>
    <dgm:pt modelId="{ACFB33D8-5108-462B-B250-7021552F1FEE}" type="pres">
      <dgm:prSet presAssocID="{E5C776D5-0CAD-4B6B-9424-975303162719}" presName="anchor1" presStyleCnt="0"/>
      <dgm:spPr/>
    </dgm:pt>
    <dgm:pt modelId="{CA9CDAAF-42FD-4510-AD49-0DDC4CA6634B}" type="pres">
      <dgm:prSet presAssocID="{E5C776D5-0CAD-4B6B-9424-975303162719}" presName="backup1" presStyleCnt="0"/>
      <dgm:spPr/>
    </dgm:pt>
    <dgm:pt modelId="{EEE83811-916D-4CCD-AD5D-AE2AE0226975}" type="pres">
      <dgm:prSet presAssocID="{E5C776D5-0CAD-4B6B-9424-975303162719}" presName="preLine1" presStyleLbl="parChTrans1D1" presStyleIdx="18" presStyleCnt="226"/>
      <dgm:spPr/>
    </dgm:pt>
    <dgm:pt modelId="{A67310D7-CEC2-4430-BCD1-94A8B50FF451}" type="pres">
      <dgm:prSet presAssocID="{E5C776D5-0CAD-4B6B-9424-975303162719}" presName="desTx1" presStyleLbl="revTx" presStyleIdx="0" presStyleCnt="0">
        <dgm:presLayoutVars>
          <dgm:bulletEnabled val="1"/>
        </dgm:presLayoutVars>
      </dgm:prSet>
      <dgm:spPr/>
    </dgm:pt>
    <dgm:pt modelId="{098C2267-7960-4D0D-95FB-AA72F3F11855}" type="pres">
      <dgm:prSet presAssocID="{E5C776D5-0CAD-4B6B-9424-975303162719}" presName="postLine1" presStyleLbl="parChTrans1D1" presStyleIdx="19" presStyleCnt="226"/>
      <dgm:spPr/>
    </dgm:pt>
    <dgm:pt modelId="{CB97FF2C-71DC-4E68-8DD0-952A223D8FAA}" type="pres">
      <dgm:prSet presAssocID="{C7E5F0E9-04C9-4C50-85BA-EC1D8DD74B00}" presName="Name11" presStyleLbl="parChTrans1D1" presStyleIdx="20" presStyleCnt="226"/>
      <dgm:spPr/>
    </dgm:pt>
    <dgm:pt modelId="{4EE7D7FC-87EB-4AA9-B862-433E22C62F58}" type="pres">
      <dgm:prSet presAssocID="{C7E5F0E9-04C9-4C50-85BA-EC1D8DD74B00}" presName="Name31" presStyleLbl="parChTrans1D1" presStyleIdx="21" presStyleCnt="226"/>
      <dgm:spPr/>
    </dgm:pt>
    <dgm:pt modelId="{FD52C6FB-52C5-4ED8-A103-A887194AE919}" type="pres">
      <dgm:prSet presAssocID="{A4A4ED36-B86E-4F65-98FF-D018712E65A7}" presName="txAndLines1" presStyleCnt="0"/>
      <dgm:spPr/>
    </dgm:pt>
    <dgm:pt modelId="{885AC5A5-E7EE-4EF2-B8EF-F7131B5BC058}" type="pres">
      <dgm:prSet presAssocID="{A4A4ED36-B86E-4F65-98FF-D018712E65A7}" presName="anchor1" presStyleCnt="0"/>
      <dgm:spPr/>
    </dgm:pt>
    <dgm:pt modelId="{67E4F6F6-4353-4A12-BF64-68A2352DB1B6}" type="pres">
      <dgm:prSet presAssocID="{A4A4ED36-B86E-4F65-98FF-D018712E65A7}" presName="backup1" presStyleCnt="0"/>
      <dgm:spPr/>
    </dgm:pt>
    <dgm:pt modelId="{BA6DE021-B7DD-4207-9B3C-DF9DB7DC1BDD}" type="pres">
      <dgm:prSet presAssocID="{A4A4ED36-B86E-4F65-98FF-D018712E65A7}" presName="preLine1" presStyleLbl="parChTrans1D1" presStyleIdx="22" presStyleCnt="226"/>
      <dgm:spPr/>
    </dgm:pt>
    <dgm:pt modelId="{106DD1EC-884C-4FBD-BD35-E4FF6C3FBC52}" type="pres">
      <dgm:prSet presAssocID="{A4A4ED36-B86E-4F65-98FF-D018712E65A7}" presName="desTx1" presStyleLbl="revTx" presStyleIdx="0" presStyleCnt="0">
        <dgm:presLayoutVars>
          <dgm:bulletEnabled val="1"/>
        </dgm:presLayoutVars>
      </dgm:prSet>
      <dgm:spPr/>
    </dgm:pt>
    <dgm:pt modelId="{93389018-FF37-4A3D-8285-D49A27391478}" type="pres">
      <dgm:prSet presAssocID="{A4A4ED36-B86E-4F65-98FF-D018712E65A7}" presName="postLine1" presStyleLbl="parChTrans1D1" presStyleIdx="23" presStyleCnt="226"/>
      <dgm:spPr/>
    </dgm:pt>
    <dgm:pt modelId="{75E83EFA-1CF1-4743-B1D8-5832EE146CD2}" type="pres">
      <dgm:prSet presAssocID="{AD3F28CE-A2F6-4708-9B12-CCECFD0D744F}" presName="Name11" presStyleLbl="parChTrans1D1" presStyleIdx="24" presStyleCnt="226"/>
      <dgm:spPr/>
    </dgm:pt>
    <dgm:pt modelId="{C54C16E2-F563-44DA-9F3F-FA3996C9A9B0}" type="pres">
      <dgm:prSet presAssocID="{AD3F28CE-A2F6-4708-9B12-CCECFD0D744F}" presName="Name31" presStyleLbl="parChTrans1D1" presStyleIdx="25" presStyleCnt="226"/>
      <dgm:spPr/>
    </dgm:pt>
    <dgm:pt modelId="{1D51A88E-6E2E-41D8-AF2D-39BDF317109F}" type="pres">
      <dgm:prSet presAssocID="{7ACFDA69-F7FF-4EBF-98C1-E6CEEA263722}" presName="txAndLines1" presStyleCnt="0"/>
      <dgm:spPr/>
    </dgm:pt>
    <dgm:pt modelId="{7789DB64-F036-4A6B-A7F4-2EDA87B585AE}" type="pres">
      <dgm:prSet presAssocID="{7ACFDA69-F7FF-4EBF-98C1-E6CEEA263722}" presName="anchor1" presStyleCnt="0"/>
      <dgm:spPr/>
    </dgm:pt>
    <dgm:pt modelId="{909175AA-4DA8-422D-9647-3C187C6D6FE9}" type="pres">
      <dgm:prSet presAssocID="{7ACFDA69-F7FF-4EBF-98C1-E6CEEA263722}" presName="backup1" presStyleCnt="0"/>
      <dgm:spPr/>
    </dgm:pt>
    <dgm:pt modelId="{E536077C-FD90-4215-A2BB-73E3BFFDF7A7}" type="pres">
      <dgm:prSet presAssocID="{7ACFDA69-F7FF-4EBF-98C1-E6CEEA263722}" presName="preLine1" presStyleLbl="parChTrans1D1" presStyleIdx="26" presStyleCnt="226"/>
      <dgm:spPr/>
    </dgm:pt>
    <dgm:pt modelId="{048DC5AB-1F21-4864-A935-685345AC4C7A}" type="pres">
      <dgm:prSet presAssocID="{7ACFDA69-F7FF-4EBF-98C1-E6CEEA263722}" presName="desTx1" presStyleLbl="revTx" presStyleIdx="0" presStyleCnt="0">
        <dgm:presLayoutVars>
          <dgm:bulletEnabled val="1"/>
        </dgm:presLayoutVars>
      </dgm:prSet>
      <dgm:spPr/>
    </dgm:pt>
    <dgm:pt modelId="{7778B0C1-FAEF-40AC-AE9B-D67FFC041E1B}" type="pres">
      <dgm:prSet presAssocID="{7ACFDA69-F7FF-4EBF-98C1-E6CEEA263722}" presName="postLine1" presStyleLbl="parChTrans1D1" presStyleIdx="27" presStyleCnt="226"/>
      <dgm:spPr/>
    </dgm:pt>
    <dgm:pt modelId="{AE11642D-86BB-4DF0-8C83-9172190BCDF7}" type="pres">
      <dgm:prSet presAssocID="{E39CD2B3-A237-40FC-B263-302F120B20A3}" presName="Name11" presStyleLbl="parChTrans1D1" presStyleIdx="28" presStyleCnt="226"/>
      <dgm:spPr/>
    </dgm:pt>
    <dgm:pt modelId="{8824159B-DE19-4A59-BBAA-E078C37AE88A}" type="pres">
      <dgm:prSet presAssocID="{E39CD2B3-A237-40FC-B263-302F120B20A3}" presName="Name31" presStyleLbl="parChTrans1D1" presStyleIdx="29" presStyleCnt="226"/>
      <dgm:spPr/>
    </dgm:pt>
    <dgm:pt modelId="{D6F1919A-D797-47A3-A09F-27C20BFA683C}" type="pres">
      <dgm:prSet presAssocID="{07194F9F-15C4-4B4D-B9EC-B69BF50CB49B}" presName="txAndLines1" presStyleCnt="0"/>
      <dgm:spPr/>
    </dgm:pt>
    <dgm:pt modelId="{7EAD4C3E-CBD4-45F0-A66A-109C245874F3}" type="pres">
      <dgm:prSet presAssocID="{07194F9F-15C4-4B4D-B9EC-B69BF50CB49B}" presName="anchor1" presStyleCnt="0"/>
      <dgm:spPr/>
    </dgm:pt>
    <dgm:pt modelId="{08810307-907E-4982-A07F-70915A3AF0D0}" type="pres">
      <dgm:prSet presAssocID="{07194F9F-15C4-4B4D-B9EC-B69BF50CB49B}" presName="backup1" presStyleCnt="0"/>
      <dgm:spPr/>
    </dgm:pt>
    <dgm:pt modelId="{23627A90-59BF-414F-B387-8F8DAD896FD0}" type="pres">
      <dgm:prSet presAssocID="{07194F9F-15C4-4B4D-B9EC-B69BF50CB49B}" presName="preLine1" presStyleLbl="parChTrans1D1" presStyleIdx="30" presStyleCnt="226"/>
      <dgm:spPr/>
    </dgm:pt>
    <dgm:pt modelId="{D467E965-FF7C-48E6-8381-BF47C0B9F1A9}" type="pres">
      <dgm:prSet presAssocID="{07194F9F-15C4-4B4D-B9EC-B69BF50CB49B}" presName="desTx1" presStyleLbl="revTx" presStyleIdx="0" presStyleCnt="0">
        <dgm:presLayoutVars>
          <dgm:bulletEnabled val="1"/>
        </dgm:presLayoutVars>
      </dgm:prSet>
      <dgm:spPr/>
    </dgm:pt>
    <dgm:pt modelId="{51E4DEF8-1C5E-4956-B4D0-05EDB15A8503}" type="pres">
      <dgm:prSet presAssocID="{07194F9F-15C4-4B4D-B9EC-B69BF50CB49B}" presName="postLine1" presStyleLbl="parChTrans1D1" presStyleIdx="31" presStyleCnt="226"/>
      <dgm:spPr/>
    </dgm:pt>
    <dgm:pt modelId="{CE78C588-E3FE-440B-A3D8-20454EA84860}" type="pres">
      <dgm:prSet presAssocID="{53BFC04B-E4BB-4766-81C8-271B79BE8E37}" presName="Name11" presStyleLbl="parChTrans1D1" presStyleIdx="32" presStyleCnt="226"/>
      <dgm:spPr/>
    </dgm:pt>
    <dgm:pt modelId="{A67F93E3-D960-452F-BC52-66C257607A3A}" type="pres">
      <dgm:prSet presAssocID="{53BFC04B-E4BB-4766-81C8-271B79BE8E37}" presName="Name31" presStyleLbl="parChTrans1D1" presStyleIdx="33" presStyleCnt="226"/>
      <dgm:spPr/>
    </dgm:pt>
    <dgm:pt modelId="{9814B717-3A57-4BCF-B807-499353813A2D}" type="pres">
      <dgm:prSet presAssocID="{78F3C406-E349-4E08-A644-4C711389428C}" presName="txAndLines1" presStyleCnt="0"/>
      <dgm:spPr/>
    </dgm:pt>
    <dgm:pt modelId="{FE1F9573-5A3F-4BEE-B9C4-CD22C9ABBC7F}" type="pres">
      <dgm:prSet presAssocID="{78F3C406-E349-4E08-A644-4C711389428C}" presName="anchor1" presStyleCnt="0"/>
      <dgm:spPr/>
    </dgm:pt>
    <dgm:pt modelId="{4B8B45E6-35E4-4240-B35E-0ED754F2B38C}" type="pres">
      <dgm:prSet presAssocID="{78F3C406-E349-4E08-A644-4C711389428C}" presName="backup1" presStyleCnt="0"/>
      <dgm:spPr/>
    </dgm:pt>
    <dgm:pt modelId="{E9D1BB93-E3EF-43E1-B2E2-DD449CA76D6F}" type="pres">
      <dgm:prSet presAssocID="{78F3C406-E349-4E08-A644-4C711389428C}" presName="preLine1" presStyleLbl="parChTrans1D1" presStyleIdx="34" presStyleCnt="226"/>
      <dgm:spPr/>
    </dgm:pt>
    <dgm:pt modelId="{74A2328C-CAD0-47EB-9266-A1C8F1907991}" type="pres">
      <dgm:prSet presAssocID="{78F3C406-E349-4E08-A644-4C711389428C}" presName="desTx1" presStyleLbl="revTx" presStyleIdx="0" presStyleCnt="0">
        <dgm:presLayoutVars>
          <dgm:bulletEnabled val="1"/>
        </dgm:presLayoutVars>
      </dgm:prSet>
      <dgm:spPr/>
    </dgm:pt>
    <dgm:pt modelId="{F90C4FAC-C91A-4792-AF34-4BC22899985D}" type="pres">
      <dgm:prSet presAssocID="{78F3C406-E349-4E08-A644-4C711389428C}" presName="postLine1" presStyleLbl="parChTrans1D1" presStyleIdx="35" presStyleCnt="226"/>
      <dgm:spPr/>
    </dgm:pt>
    <dgm:pt modelId="{C7A7FA5E-119B-4FFD-B4C7-65AE0273A35A}" type="pres">
      <dgm:prSet presAssocID="{22558CEF-2D96-4AD6-A246-77F8A88B0FA2}" presName="Name11" presStyleLbl="parChTrans1D1" presStyleIdx="36" presStyleCnt="226"/>
      <dgm:spPr/>
    </dgm:pt>
    <dgm:pt modelId="{A9C2A944-9E64-4084-AC69-2B56CC00E404}" type="pres">
      <dgm:prSet presAssocID="{22558CEF-2D96-4AD6-A246-77F8A88B0FA2}" presName="Name31" presStyleLbl="parChTrans1D1" presStyleIdx="37" presStyleCnt="226"/>
      <dgm:spPr/>
    </dgm:pt>
    <dgm:pt modelId="{20F9454B-6EDB-4840-A660-38692BE1CF9D}" type="pres">
      <dgm:prSet presAssocID="{223FA01B-2654-411E-B8A1-699E347C88BC}" presName="txAndLines1" presStyleCnt="0"/>
      <dgm:spPr/>
    </dgm:pt>
    <dgm:pt modelId="{8E45C01C-6214-474B-A54A-6D407461FB33}" type="pres">
      <dgm:prSet presAssocID="{223FA01B-2654-411E-B8A1-699E347C88BC}" presName="anchor1" presStyleCnt="0"/>
      <dgm:spPr/>
    </dgm:pt>
    <dgm:pt modelId="{96204DA4-FE4D-4CC7-ACB1-731743226497}" type="pres">
      <dgm:prSet presAssocID="{223FA01B-2654-411E-B8A1-699E347C88BC}" presName="backup1" presStyleCnt="0"/>
      <dgm:spPr/>
    </dgm:pt>
    <dgm:pt modelId="{3F03B76A-8A80-46FA-A0EF-E4AF80DE0115}" type="pres">
      <dgm:prSet presAssocID="{223FA01B-2654-411E-B8A1-699E347C88BC}" presName="preLine1" presStyleLbl="parChTrans1D1" presStyleIdx="38" presStyleCnt="226"/>
      <dgm:spPr/>
    </dgm:pt>
    <dgm:pt modelId="{06784979-493B-4910-AD6C-B5498284E6B8}" type="pres">
      <dgm:prSet presAssocID="{223FA01B-2654-411E-B8A1-699E347C88BC}" presName="desTx1" presStyleLbl="revTx" presStyleIdx="0" presStyleCnt="0">
        <dgm:presLayoutVars>
          <dgm:bulletEnabled val="1"/>
        </dgm:presLayoutVars>
      </dgm:prSet>
      <dgm:spPr/>
    </dgm:pt>
    <dgm:pt modelId="{03A15FDD-EB75-4596-88F9-79F9374EE199}" type="pres">
      <dgm:prSet presAssocID="{223FA01B-2654-411E-B8A1-699E347C88BC}" presName="postLine1" presStyleLbl="parChTrans1D1" presStyleIdx="39" presStyleCnt="226"/>
      <dgm:spPr/>
    </dgm:pt>
    <dgm:pt modelId="{FAC75633-BD45-446D-91A8-563572854102}" type="pres">
      <dgm:prSet presAssocID="{ADB85975-2C4C-494B-955F-CCE57F4529A4}" presName="Name11" presStyleLbl="parChTrans1D1" presStyleIdx="40" presStyleCnt="226"/>
      <dgm:spPr/>
    </dgm:pt>
    <dgm:pt modelId="{2E15103B-7EEC-42EB-B17D-C83620222DB5}" type="pres">
      <dgm:prSet presAssocID="{ADB85975-2C4C-494B-955F-CCE57F4529A4}" presName="Name31" presStyleLbl="parChTrans1D1" presStyleIdx="41" presStyleCnt="226"/>
      <dgm:spPr/>
    </dgm:pt>
    <dgm:pt modelId="{D2DA2DED-9A9C-40E0-89F2-DCD2D858AFAF}" type="pres">
      <dgm:prSet presAssocID="{04F48DAA-3773-4540-9C75-C3CB69AEA724}" presName="txAndLines1" presStyleCnt="0"/>
      <dgm:spPr/>
    </dgm:pt>
    <dgm:pt modelId="{C74B49C6-D954-4304-B56A-4B7079308E4D}" type="pres">
      <dgm:prSet presAssocID="{04F48DAA-3773-4540-9C75-C3CB69AEA724}" presName="anchor1" presStyleCnt="0"/>
      <dgm:spPr/>
    </dgm:pt>
    <dgm:pt modelId="{6D0D3855-A034-4F8A-A831-0D17E28395FA}" type="pres">
      <dgm:prSet presAssocID="{04F48DAA-3773-4540-9C75-C3CB69AEA724}" presName="backup1" presStyleCnt="0"/>
      <dgm:spPr/>
    </dgm:pt>
    <dgm:pt modelId="{AF924A66-4B0F-4F21-8000-831CDBA995FB}" type="pres">
      <dgm:prSet presAssocID="{04F48DAA-3773-4540-9C75-C3CB69AEA724}" presName="preLine1" presStyleLbl="parChTrans1D1" presStyleIdx="42" presStyleCnt="226"/>
      <dgm:spPr/>
    </dgm:pt>
    <dgm:pt modelId="{0B0A04DB-7585-466A-A7E2-B7368ACE728D}" type="pres">
      <dgm:prSet presAssocID="{04F48DAA-3773-4540-9C75-C3CB69AEA724}" presName="desTx1" presStyleLbl="revTx" presStyleIdx="0" presStyleCnt="0">
        <dgm:presLayoutVars>
          <dgm:bulletEnabled val="1"/>
        </dgm:presLayoutVars>
      </dgm:prSet>
      <dgm:spPr/>
    </dgm:pt>
    <dgm:pt modelId="{D81CD999-1ED9-40D0-B9E1-002D329F5F86}" type="pres">
      <dgm:prSet presAssocID="{04F48DAA-3773-4540-9C75-C3CB69AEA724}" presName="postLine1" presStyleLbl="parChTrans1D1" presStyleIdx="43" presStyleCnt="226"/>
      <dgm:spPr/>
    </dgm:pt>
    <dgm:pt modelId="{050378E4-BDC0-44B2-BBD1-4A90D81F1BAC}" type="pres">
      <dgm:prSet presAssocID="{C64A3097-5B6E-41B1-B110-BAF67E65FF7C}" presName="Name11" presStyleLbl="parChTrans1D1" presStyleIdx="44" presStyleCnt="226"/>
      <dgm:spPr/>
    </dgm:pt>
    <dgm:pt modelId="{7B0D213C-9395-4314-B64E-241A46F89B64}" type="pres">
      <dgm:prSet presAssocID="{C64A3097-5B6E-41B1-B110-BAF67E65FF7C}" presName="Name31" presStyleLbl="parChTrans1D1" presStyleIdx="45" presStyleCnt="226"/>
      <dgm:spPr/>
    </dgm:pt>
    <dgm:pt modelId="{668F07EE-147B-4228-9FD1-5FEB15F1456F}" type="pres">
      <dgm:prSet presAssocID="{7C86FFEC-A29F-47E5-8E06-B2A39B5233FF}" presName="txAndLines1" presStyleCnt="0"/>
      <dgm:spPr/>
    </dgm:pt>
    <dgm:pt modelId="{FC5159D2-0E25-474D-B99C-ACAD2752A4A3}" type="pres">
      <dgm:prSet presAssocID="{7C86FFEC-A29F-47E5-8E06-B2A39B5233FF}" presName="anchor1" presStyleCnt="0"/>
      <dgm:spPr/>
    </dgm:pt>
    <dgm:pt modelId="{9476440E-503D-4CB9-84A1-F491BCF74DF6}" type="pres">
      <dgm:prSet presAssocID="{7C86FFEC-A29F-47E5-8E06-B2A39B5233FF}" presName="backup1" presStyleCnt="0"/>
      <dgm:spPr/>
    </dgm:pt>
    <dgm:pt modelId="{576A5F21-846E-4C9D-B2D7-2093937F1154}" type="pres">
      <dgm:prSet presAssocID="{7C86FFEC-A29F-47E5-8E06-B2A39B5233FF}" presName="preLine1" presStyleLbl="parChTrans1D1" presStyleIdx="46" presStyleCnt="226"/>
      <dgm:spPr/>
    </dgm:pt>
    <dgm:pt modelId="{37FF6F26-2703-4C12-927D-A9044CB7378E}" type="pres">
      <dgm:prSet presAssocID="{7C86FFEC-A29F-47E5-8E06-B2A39B5233FF}" presName="desTx1" presStyleLbl="revTx" presStyleIdx="0" presStyleCnt="0">
        <dgm:presLayoutVars>
          <dgm:bulletEnabled val="1"/>
        </dgm:presLayoutVars>
      </dgm:prSet>
      <dgm:spPr/>
    </dgm:pt>
    <dgm:pt modelId="{D119405B-7A5F-4ADF-94B2-137FDC5D608F}" type="pres">
      <dgm:prSet presAssocID="{7C86FFEC-A29F-47E5-8E06-B2A39B5233FF}" presName="postLine1" presStyleLbl="parChTrans1D1" presStyleIdx="47" presStyleCnt="226"/>
      <dgm:spPr/>
    </dgm:pt>
    <dgm:pt modelId="{B5B1AFE3-815B-4E06-B73F-3A35D5341935}" type="pres">
      <dgm:prSet presAssocID="{4F9E7152-719B-4B7D-86F2-2EFD9B91F807}" presName="Name11" presStyleLbl="parChTrans1D1" presStyleIdx="48" presStyleCnt="226"/>
      <dgm:spPr/>
    </dgm:pt>
    <dgm:pt modelId="{34D8475C-79C9-4AF0-9D4A-FCD9AC710D7D}" type="pres">
      <dgm:prSet presAssocID="{4F9E7152-719B-4B7D-86F2-2EFD9B91F807}" presName="Name31" presStyleLbl="parChTrans1D1" presStyleIdx="49" presStyleCnt="226"/>
      <dgm:spPr/>
    </dgm:pt>
    <dgm:pt modelId="{742B2B78-325A-433A-96B6-9AFABDBE3D14}" type="pres">
      <dgm:prSet presAssocID="{F0BFD6E9-973F-4C1A-A86D-86115FB8BBBD}" presName="txAndLines1" presStyleCnt="0"/>
      <dgm:spPr/>
    </dgm:pt>
    <dgm:pt modelId="{1057D424-5C75-4A52-960D-A8EC46C43A60}" type="pres">
      <dgm:prSet presAssocID="{F0BFD6E9-973F-4C1A-A86D-86115FB8BBBD}" presName="anchor1" presStyleCnt="0"/>
      <dgm:spPr/>
    </dgm:pt>
    <dgm:pt modelId="{5B1F7A90-B2D2-4A0B-9239-A6BC51A27DC6}" type="pres">
      <dgm:prSet presAssocID="{F0BFD6E9-973F-4C1A-A86D-86115FB8BBBD}" presName="backup1" presStyleCnt="0"/>
      <dgm:spPr/>
    </dgm:pt>
    <dgm:pt modelId="{9377DD8F-FB3A-4684-BDAC-4A7549F1616B}" type="pres">
      <dgm:prSet presAssocID="{F0BFD6E9-973F-4C1A-A86D-86115FB8BBBD}" presName="preLine1" presStyleLbl="parChTrans1D1" presStyleIdx="50" presStyleCnt="226"/>
      <dgm:spPr/>
    </dgm:pt>
    <dgm:pt modelId="{CDAA6B94-9F49-4AF9-AE3E-32F9C77F44E2}" type="pres">
      <dgm:prSet presAssocID="{F0BFD6E9-973F-4C1A-A86D-86115FB8BBBD}" presName="desTx1" presStyleLbl="revTx" presStyleIdx="0" presStyleCnt="0">
        <dgm:presLayoutVars>
          <dgm:bulletEnabled val="1"/>
        </dgm:presLayoutVars>
      </dgm:prSet>
      <dgm:spPr/>
    </dgm:pt>
    <dgm:pt modelId="{E9E10DE2-C71B-4D0C-948A-778438EF8A77}" type="pres">
      <dgm:prSet presAssocID="{F0BFD6E9-973F-4C1A-A86D-86115FB8BBBD}" presName="postLine1" presStyleLbl="parChTrans1D1" presStyleIdx="51" presStyleCnt="226"/>
      <dgm:spPr/>
    </dgm:pt>
    <dgm:pt modelId="{86594893-A27E-4C0F-ACC1-2D199E659653}" type="pres">
      <dgm:prSet presAssocID="{A712068F-59CC-4086-84A7-E824F9EEEED5}" presName="Name11" presStyleLbl="parChTrans1D1" presStyleIdx="52" presStyleCnt="226"/>
      <dgm:spPr/>
    </dgm:pt>
    <dgm:pt modelId="{2E9FA2FD-7E91-4D6C-AD4A-6A9FCE85711F}" type="pres">
      <dgm:prSet presAssocID="{A712068F-59CC-4086-84A7-E824F9EEEED5}" presName="Name31" presStyleLbl="parChTrans1D1" presStyleIdx="53" presStyleCnt="226"/>
      <dgm:spPr/>
    </dgm:pt>
    <dgm:pt modelId="{77193D0D-781C-433C-9E38-5689B120EF85}" type="pres">
      <dgm:prSet presAssocID="{2AA5FE31-A530-40F8-96E3-32233042BEF6}" presName="txAndLines1" presStyleCnt="0"/>
      <dgm:spPr/>
    </dgm:pt>
    <dgm:pt modelId="{07A7472D-B82D-4EA1-AFB6-A0E7B3093B48}" type="pres">
      <dgm:prSet presAssocID="{2AA5FE31-A530-40F8-96E3-32233042BEF6}" presName="anchor1" presStyleCnt="0"/>
      <dgm:spPr/>
    </dgm:pt>
    <dgm:pt modelId="{1376C2C3-8033-4070-8471-379B7D24D89C}" type="pres">
      <dgm:prSet presAssocID="{2AA5FE31-A530-40F8-96E3-32233042BEF6}" presName="backup1" presStyleCnt="0"/>
      <dgm:spPr/>
    </dgm:pt>
    <dgm:pt modelId="{392A5704-34F2-413E-A28E-0E723E99AEF7}" type="pres">
      <dgm:prSet presAssocID="{2AA5FE31-A530-40F8-96E3-32233042BEF6}" presName="preLine1" presStyleLbl="parChTrans1D1" presStyleIdx="54" presStyleCnt="226"/>
      <dgm:spPr/>
    </dgm:pt>
    <dgm:pt modelId="{43160C9B-1062-4C39-B3E4-A8D8F037D27C}" type="pres">
      <dgm:prSet presAssocID="{2AA5FE31-A530-40F8-96E3-32233042BEF6}" presName="desTx1" presStyleLbl="revTx" presStyleIdx="0" presStyleCnt="0">
        <dgm:presLayoutVars>
          <dgm:bulletEnabled val="1"/>
        </dgm:presLayoutVars>
      </dgm:prSet>
      <dgm:spPr/>
    </dgm:pt>
    <dgm:pt modelId="{A43AA722-C85F-44E8-B61A-D5DDA614F0FB}" type="pres">
      <dgm:prSet presAssocID="{2AA5FE31-A530-40F8-96E3-32233042BEF6}" presName="postLine1" presStyleLbl="parChTrans1D1" presStyleIdx="55" presStyleCnt="226"/>
      <dgm:spPr/>
    </dgm:pt>
    <dgm:pt modelId="{4A52D137-794B-4CF2-9360-77E6EEEF0931}" type="pres">
      <dgm:prSet presAssocID="{5AF9220E-C3E0-41FF-8E97-8172920A6DBF}" presName="Name11" presStyleLbl="parChTrans1D1" presStyleIdx="56" presStyleCnt="226"/>
      <dgm:spPr/>
    </dgm:pt>
    <dgm:pt modelId="{3A07754D-ED0C-4CDC-869B-B8814858980B}" type="pres">
      <dgm:prSet presAssocID="{5AF9220E-C3E0-41FF-8E97-8172920A6DBF}" presName="Name31" presStyleLbl="parChTrans1D1" presStyleIdx="57" presStyleCnt="226"/>
      <dgm:spPr/>
    </dgm:pt>
    <dgm:pt modelId="{97A1BDF8-1677-4B4B-A084-221213FFB927}" type="pres">
      <dgm:prSet presAssocID="{F50E0E87-F0DD-412B-B012-CF0CC022CF9C}" presName="txAndLines1" presStyleCnt="0"/>
      <dgm:spPr/>
    </dgm:pt>
    <dgm:pt modelId="{34E7A47D-D3EC-4B49-8E3C-6324F0563B3A}" type="pres">
      <dgm:prSet presAssocID="{F50E0E87-F0DD-412B-B012-CF0CC022CF9C}" presName="anchor1" presStyleCnt="0"/>
      <dgm:spPr/>
    </dgm:pt>
    <dgm:pt modelId="{45598EEA-DE0F-4169-9EBB-D9D7FDCA1C65}" type="pres">
      <dgm:prSet presAssocID="{F50E0E87-F0DD-412B-B012-CF0CC022CF9C}" presName="backup1" presStyleCnt="0"/>
      <dgm:spPr/>
    </dgm:pt>
    <dgm:pt modelId="{9BC85349-4616-4E59-9196-A967C9BAF8E0}" type="pres">
      <dgm:prSet presAssocID="{F50E0E87-F0DD-412B-B012-CF0CC022CF9C}" presName="preLine1" presStyleLbl="parChTrans1D1" presStyleIdx="58" presStyleCnt="226"/>
      <dgm:spPr/>
    </dgm:pt>
    <dgm:pt modelId="{E6B5E9DC-7D21-4D12-BE0F-46BA1636B65D}" type="pres">
      <dgm:prSet presAssocID="{F50E0E87-F0DD-412B-B012-CF0CC022CF9C}" presName="desTx1" presStyleLbl="revTx" presStyleIdx="0" presStyleCnt="0">
        <dgm:presLayoutVars>
          <dgm:bulletEnabled val="1"/>
        </dgm:presLayoutVars>
      </dgm:prSet>
      <dgm:spPr/>
    </dgm:pt>
    <dgm:pt modelId="{DB1A8727-C6BD-47B0-BF7D-0864831F2FFF}" type="pres">
      <dgm:prSet presAssocID="{F50E0E87-F0DD-412B-B012-CF0CC022CF9C}" presName="postLine1" presStyleLbl="parChTrans1D1" presStyleIdx="59" presStyleCnt="226"/>
      <dgm:spPr/>
    </dgm:pt>
    <dgm:pt modelId="{A1091C9A-4889-4203-ACF4-7AF69F5E8F14}" type="pres">
      <dgm:prSet presAssocID="{7C516925-7D40-4AF4-BF40-D0892246A05C}" presName="Name11" presStyleLbl="parChTrans1D1" presStyleIdx="60" presStyleCnt="226"/>
      <dgm:spPr/>
    </dgm:pt>
    <dgm:pt modelId="{1AAC7A95-07CD-4C6F-A580-4BB3A5FD8D63}" type="pres">
      <dgm:prSet presAssocID="{7C516925-7D40-4AF4-BF40-D0892246A05C}" presName="Name31" presStyleLbl="parChTrans1D1" presStyleIdx="61" presStyleCnt="226"/>
      <dgm:spPr/>
    </dgm:pt>
    <dgm:pt modelId="{9430A782-D5A4-44BA-8C35-E0BAABE7BD35}" type="pres">
      <dgm:prSet presAssocID="{E397576D-5C3B-4E42-98E8-028A409AFAB0}" presName="txAndLines1" presStyleCnt="0"/>
      <dgm:spPr/>
    </dgm:pt>
    <dgm:pt modelId="{F73691D2-15BB-4567-A787-E90931EB890F}" type="pres">
      <dgm:prSet presAssocID="{E397576D-5C3B-4E42-98E8-028A409AFAB0}" presName="anchor1" presStyleCnt="0"/>
      <dgm:spPr/>
    </dgm:pt>
    <dgm:pt modelId="{C21FBB08-54BB-4ECF-9C8B-D6587961CEE7}" type="pres">
      <dgm:prSet presAssocID="{E397576D-5C3B-4E42-98E8-028A409AFAB0}" presName="backup1" presStyleCnt="0"/>
      <dgm:spPr/>
    </dgm:pt>
    <dgm:pt modelId="{6D227096-B957-4D56-8DA1-A0ABA177B817}" type="pres">
      <dgm:prSet presAssocID="{E397576D-5C3B-4E42-98E8-028A409AFAB0}" presName="preLine1" presStyleLbl="parChTrans1D1" presStyleIdx="62" presStyleCnt="226"/>
      <dgm:spPr/>
    </dgm:pt>
    <dgm:pt modelId="{6564B9C6-D729-4BF0-A060-EDDCC991BBA2}" type="pres">
      <dgm:prSet presAssocID="{E397576D-5C3B-4E42-98E8-028A409AFAB0}" presName="desTx1" presStyleLbl="revTx" presStyleIdx="0" presStyleCnt="0">
        <dgm:presLayoutVars>
          <dgm:bulletEnabled val="1"/>
        </dgm:presLayoutVars>
      </dgm:prSet>
      <dgm:spPr/>
    </dgm:pt>
    <dgm:pt modelId="{988F957D-C33F-4889-AA7E-92EBE5A2C77A}" type="pres">
      <dgm:prSet presAssocID="{E397576D-5C3B-4E42-98E8-028A409AFAB0}" presName="postLine1" presStyleLbl="parChTrans1D1" presStyleIdx="63" presStyleCnt="226"/>
      <dgm:spPr/>
    </dgm:pt>
    <dgm:pt modelId="{FCAF7093-0F09-43F3-8128-4BECA3CD5D65}" type="pres">
      <dgm:prSet presAssocID="{2C167B31-6B63-477E-9475-DC7E9CB5F58E}" presName="Name11" presStyleLbl="parChTrans1D1" presStyleIdx="64" presStyleCnt="226"/>
      <dgm:spPr/>
    </dgm:pt>
    <dgm:pt modelId="{D69739D7-DCEF-43A2-818F-45764610B255}" type="pres">
      <dgm:prSet presAssocID="{2C167B31-6B63-477E-9475-DC7E9CB5F58E}" presName="Name31" presStyleLbl="parChTrans1D1" presStyleIdx="65" presStyleCnt="226"/>
      <dgm:spPr/>
    </dgm:pt>
    <dgm:pt modelId="{6E08D4BB-87EA-4C02-B38B-0CEDEF1A960C}" type="pres">
      <dgm:prSet presAssocID="{09485C8E-8C79-481C-A6A4-D5CA441597DD}" presName="txAndLines1" presStyleCnt="0"/>
      <dgm:spPr/>
    </dgm:pt>
    <dgm:pt modelId="{B55ED40B-FDF2-4DCD-8AF3-48114EA6560B}" type="pres">
      <dgm:prSet presAssocID="{09485C8E-8C79-481C-A6A4-D5CA441597DD}" presName="anchor1" presStyleCnt="0"/>
      <dgm:spPr/>
    </dgm:pt>
    <dgm:pt modelId="{AE4B7AE4-A996-4419-8370-6112BEB49A04}" type="pres">
      <dgm:prSet presAssocID="{09485C8E-8C79-481C-A6A4-D5CA441597DD}" presName="backup1" presStyleCnt="0"/>
      <dgm:spPr/>
    </dgm:pt>
    <dgm:pt modelId="{B93FF3DD-5591-4704-A7D4-42408D20A53F}" type="pres">
      <dgm:prSet presAssocID="{09485C8E-8C79-481C-A6A4-D5CA441597DD}" presName="preLine1" presStyleLbl="parChTrans1D1" presStyleIdx="66" presStyleCnt="226"/>
      <dgm:spPr/>
    </dgm:pt>
    <dgm:pt modelId="{25BD17A6-3959-45DD-AD14-02F1EFD8AA63}" type="pres">
      <dgm:prSet presAssocID="{09485C8E-8C79-481C-A6A4-D5CA441597DD}" presName="desTx1" presStyleLbl="revTx" presStyleIdx="0" presStyleCnt="0">
        <dgm:presLayoutVars>
          <dgm:bulletEnabled val="1"/>
        </dgm:presLayoutVars>
      </dgm:prSet>
      <dgm:spPr/>
    </dgm:pt>
    <dgm:pt modelId="{E22B408A-5F36-4B9B-98FA-73F2F5F3E945}" type="pres">
      <dgm:prSet presAssocID="{09485C8E-8C79-481C-A6A4-D5CA441597DD}" presName="postLine1" presStyleLbl="parChTrans1D1" presStyleIdx="67" presStyleCnt="226"/>
      <dgm:spPr/>
    </dgm:pt>
    <dgm:pt modelId="{66D42AC5-3DF6-4D0F-95C9-5124F507088A}" type="pres">
      <dgm:prSet presAssocID="{B7AD721F-9448-4C57-A52B-9E5B1CF6B8EC}" presName="Name11" presStyleLbl="parChTrans1D1" presStyleIdx="68" presStyleCnt="226"/>
      <dgm:spPr/>
    </dgm:pt>
    <dgm:pt modelId="{577B99D4-1C1A-4407-974E-EAA132318E25}" type="pres">
      <dgm:prSet presAssocID="{B7AD721F-9448-4C57-A52B-9E5B1CF6B8EC}" presName="Name31" presStyleLbl="parChTrans1D1" presStyleIdx="69" presStyleCnt="226"/>
      <dgm:spPr/>
    </dgm:pt>
    <dgm:pt modelId="{84D21AE9-56D8-42C0-8DFB-F4BD277EEEC5}" type="pres">
      <dgm:prSet presAssocID="{654640F8-E38E-4BF1-AEC3-DCE2A931DEDA}" presName="txAndLines1" presStyleCnt="0"/>
      <dgm:spPr/>
    </dgm:pt>
    <dgm:pt modelId="{EB0DD9CC-BD97-451D-B794-241318C4D7F1}" type="pres">
      <dgm:prSet presAssocID="{654640F8-E38E-4BF1-AEC3-DCE2A931DEDA}" presName="anchor1" presStyleCnt="0"/>
      <dgm:spPr/>
    </dgm:pt>
    <dgm:pt modelId="{B9318F09-282E-4D6B-AFD8-962176E800EA}" type="pres">
      <dgm:prSet presAssocID="{654640F8-E38E-4BF1-AEC3-DCE2A931DEDA}" presName="backup1" presStyleCnt="0"/>
      <dgm:spPr/>
    </dgm:pt>
    <dgm:pt modelId="{31956BE9-6661-4228-BB8D-9FCB6CA59DDF}" type="pres">
      <dgm:prSet presAssocID="{654640F8-E38E-4BF1-AEC3-DCE2A931DEDA}" presName="preLine1" presStyleLbl="parChTrans1D1" presStyleIdx="70" presStyleCnt="226"/>
      <dgm:spPr/>
    </dgm:pt>
    <dgm:pt modelId="{87D075D9-A93C-4EA3-8DB8-3DA166F1F75F}" type="pres">
      <dgm:prSet presAssocID="{654640F8-E38E-4BF1-AEC3-DCE2A931DEDA}" presName="desTx1" presStyleLbl="revTx" presStyleIdx="0" presStyleCnt="0">
        <dgm:presLayoutVars>
          <dgm:bulletEnabled val="1"/>
        </dgm:presLayoutVars>
      </dgm:prSet>
      <dgm:spPr/>
    </dgm:pt>
    <dgm:pt modelId="{3BD0C75F-E58E-476C-96BB-4ECADAA1B55C}" type="pres">
      <dgm:prSet presAssocID="{654640F8-E38E-4BF1-AEC3-DCE2A931DEDA}" presName="postLine1" presStyleLbl="parChTrans1D1" presStyleIdx="71" presStyleCnt="226"/>
      <dgm:spPr/>
    </dgm:pt>
    <dgm:pt modelId="{A3D6850D-7E25-4357-B827-04D49A0B8615}" type="pres">
      <dgm:prSet presAssocID="{E9985B5D-7FA2-4197-9220-1A0A1A3BAA0E}" presName="Name11" presStyleLbl="parChTrans1D1" presStyleIdx="72" presStyleCnt="226"/>
      <dgm:spPr/>
    </dgm:pt>
    <dgm:pt modelId="{887A7745-BA0D-413E-86C6-F7B95D582FD5}" type="pres">
      <dgm:prSet presAssocID="{E9985B5D-7FA2-4197-9220-1A0A1A3BAA0E}" presName="Name31" presStyleLbl="parChTrans1D1" presStyleIdx="73" presStyleCnt="226"/>
      <dgm:spPr/>
    </dgm:pt>
    <dgm:pt modelId="{0B11E7AC-9657-4705-9FAC-26740A51A5DF}" type="pres">
      <dgm:prSet presAssocID="{E1BAD88C-3FB7-49B2-9FB0-37F77F05D2CE}" presName="txAndLines1" presStyleCnt="0"/>
      <dgm:spPr/>
    </dgm:pt>
    <dgm:pt modelId="{053A3F5B-F739-4896-AE79-761150D0A021}" type="pres">
      <dgm:prSet presAssocID="{E1BAD88C-3FB7-49B2-9FB0-37F77F05D2CE}" presName="anchor1" presStyleCnt="0"/>
      <dgm:spPr/>
    </dgm:pt>
    <dgm:pt modelId="{99E61482-CB0E-47C8-95D5-6FA32839950D}" type="pres">
      <dgm:prSet presAssocID="{E1BAD88C-3FB7-49B2-9FB0-37F77F05D2CE}" presName="backup1" presStyleCnt="0"/>
      <dgm:spPr/>
    </dgm:pt>
    <dgm:pt modelId="{26C6FDAC-345F-4B42-9ECA-ADBF8A7415B6}" type="pres">
      <dgm:prSet presAssocID="{E1BAD88C-3FB7-49B2-9FB0-37F77F05D2CE}" presName="preLine1" presStyleLbl="parChTrans1D1" presStyleIdx="74" presStyleCnt="226"/>
      <dgm:spPr/>
    </dgm:pt>
    <dgm:pt modelId="{E2755BC3-5C32-4E8E-8D27-A5E8895EB981}" type="pres">
      <dgm:prSet presAssocID="{E1BAD88C-3FB7-49B2-9FB0-37F77F05D2CE}" presName="desTx1" presStyleLbl="revTx" presStyleIdx="0" presStyleCnt="0">
        <dgm:presLayoutVars>
          <dgm:bulletEnabled val="1"/>
        </dgm:presLayoutVars>
      </dgm:prSet>
      <dgm:spPr/>
    </dgm:pt>
    <dgm:pt modelId="{8149D76F-DE8B-4F90-B1B0-FDB62759F006}" type="pres">
      <dgm:prSet presAssocID="{E1BAD88C-3FB7-49B2-9FB0-37F77F05D2CE}" presName="postLine1" presStyleLbl="parChTrans1D1" presStyleIdx="75" presStyleCnt="226"/>
      <dgm:spPr/>
    </dgm:pt>
    <dgm:pt modelId="{ACB6A572-63D1-43AC-A74C-32960E176380}" type="pres">
      <dgm:prSet presAssocID="{4B516D8C-AD5A-4A47-8295-9EFB8384DE52}" presName="Name11" presStyleLbl="parChTrans1D1" presStyleIdx="76" presStyleCnt="226"/>
      <dgm:spPr/>
    </dgm:pt>
    <dgm:pt modelId="{8F209CC7-0015-4796-ABD8-C3FE03696DBC}" type="pres">
      <dgm:prSet presAssocID="{4B516D8C-AD5A-4A47-8295-9EFB8384DE52}" presName="Name31" presStyleLbl="parChTrans1D1" presStyleIdx="77" presStyleCnt="226"/>
      <dgm:spPr/>
    </dgm:pt>
    <dgm:pt modelId="{EB979EFC-A111-44E1-B4F1-7B5704754BE6}" type="pres">
      <dgm:prSet presAssocID="{9A9E1B88-98A2-4CEB-886A-7C7EACF41FF6}" presName="txAndLines1" presStyleCnt="0"/>
      <dgm:spPr/>
    </dgm:pt>
    <dgm:pt modelId="{9A0997C7-888B-4E95-85F6-BFEB4C12B613}" type="pres">
      <dgm:prSet presAssocID="{9A9E1B88-98A2-4CEB-886A-7C7EACF41FF6}" presName="anchor1" presStyleCnt="0"/>
      <dgm:spPr/>
    </dgm:pt>
    <dgm:pt modelId="{289E8DC0-D64F-4A26-BC92-BB22FFBE515D}" type="pres">
      <dgm:prSet presAssocID="{9A9E1B88-98A2-4CEB-886A-7C7EACF41FF6}" presName="backup1" presStyleCnt="0"/>
      <dgm:spPr/>
    </dgm:pt>
    <dgm:pt modelId="{DCB8203C-DD9A-4836-A4CB-858D781F1657}" type="pres">
      <dgm:prSet presAssocID="{9A9E1B88-98A2-4CEB-886A-7C7EACF41FF6}" presName="preLine1" presStyleLbl="parChTrans1D1" presStyleIdx="78" presStyleCnt="226"/>
      <dgm:spPr/>
    </dgm:pt>
    <dgm:pt modelId="{B25C771D-66D3-4EA6-AE3D-9AFC62CF5E5D}" type="pres">
      <dgm:prSet presAssocID="{9A9E1B88-98A2-4CEB-886A-7C7EACF41FF6}" presName="desTx1" presStyleLbl="revTx" presStyleIdx="0" presStyleCnt="0">
        <dgm:presLayoutVars>
          <dgm:bulletEnabled val="1"/>
        </dgm:presLayoutVars>
      </dgm:prSet>
      <dgm:spPr/>
    </dgm:pt>
    <dgm:pt modelId="{4A581D96-A520-4697-BC71-7107835FB6A4}" type="pres">
      <dgm:prSet presAssocID="{9A9E1B88-98A2-4CEB-886A-7C7EACF41FF6}" presName="postLine1" presStyleLbl="parChTrans1D1" presStyleIdx="79" presStyleCnt="226"/>
      <dgm:spPr/>
    </dgm:pt>
    <dgm:pt modelId="{DBB4EBA8-058B-46C7-96D3-CE8B9320AF6C}" type="pres">
      <dgm:prSet presAssocID="{C6074B8C-DEC4-4F57-89AA-8BC58CDE6FA4}" presName="Name11" presStyleLbl="parChTrans1D1" presStyleIdx="80" presStyleCnt="226"/>
      <dgm:spPr/>
    </dgm:pt>
    <dgm:pt modelId="{F6A56DCE-9762-45BF-BE92-6E967FF80DFC}" type="pres">
      <dgm:prSet presAssocID="{C6074B8C-DEC4-4F57-89AA-8BC58CDE6FA4}" presName="Name31" presStyleLbl="parChTrans1D1" presStyleIdx="81" presStyleCnt="226"/>
      <dgm:spPr/>
    </dgm:pt>
    <dgm:pt modelId="{55B456C4-9583-41BE-9AF6-B011B51FA48C}" type="pres">
      <dgm:prSet presAssocID="{2A38BF28-5490-496B-A96D-F3D85C6BDD1B}" presName="txAndLines1" presStyleCnt="0"/>
      <dgm:spPr/>
    </dgm:pt>
    <dgm:pt modelId="{BE9E6141-18F7-430C-BA66-311DFB45FC59}" type="pres">
      <dgm:prSet presAssocID="{2A38BF28-5490-496B-A96D-F3D85C6BDD1B}" presName="anchor1" presStyleCnt="0"/>
      <dgm:spPr/>
    </dgm:pt>
    <dgm:pt modelId="{2EA2B5D6-C804-4B48-9D00-86C22C74E297}" type="pres">
      <dgm:prSet presAssocID="{2A38BF28-5490-496B-A96D-F3D85C6BDD1B}" presName="backup1" presStyleCnt="0"/>
      <dgm:spPr/>
    </dgm:pt>
    <dgm:pt modelId="{8E6B2954-2C53-4761-B062-FF5387172746}" type="pres">
      <dgm:prSet presAssocID="{2A38BF28-5490-496B-A96D-F3D85C6BDD1B}" presName="preLine1" presStyleLbl="parChTrans1D1" presStyleIdx="82" presStyleCnt="226"/>
      <dgm:spPr/>
    </dgm:pt>
    <dgm:pt modelId="{6FC478FC-CB66-4B0E-B9B1-619DCD209D81}" type="pres">
      <dgm:prSet presAssocID="{2A38BF28-5490-496B-A96D-F3D85C6BDD1B}" presName="desTx1" presStyleLbl="revTx" presStyleIdx="0" presStyleCnt="0">
        <dgm:presLayoutVars>
          <dgm:bulletEnabled val="1"/>
        </dgm:presLayoutVars>
      </dgm:prSet>
      <dgm:spPr/>
    </dgm:pt>
    <dgm:pt modelId="{857E5943-E06D-4882-8911-FC674C58D638}" type="pres">
      <dgm:prSet presAssocID="{2A38BF28-5490-496B-A96D-F3D85C6BDD1B}" presName="postLine1" presStyleLbl="parChTrans1D1" presStyleIdx="83" presStyleCnt="226"/>
      <dgm:spPr/>
    </dgm:pt>
    <dgm:pt modelId="{B6A1643A-45F7-43E5-8276-746C95F73887}" type="pres">
      <dgm:prSet presAssocID="{0C705E2D-3854-448D-87AD-82436F7C2A33}" presName="Name11" presStyleLbl="parChTrans1D1" presStyleIdx="84" presStyleCnt="226"/>
      <dgm:spPr/>
    </dgm:pt>
    <dgm:pt modelId="{0778FC81-1AE9-41E8-B904-8612D9C1B341}" type="pres">
      <dgm:prSet presAssocID="{0C705E2D-3854-448D-87AD-82436F7C2A33}" presName="Name31" presStyleLbl="parChTrans1D1" presStyleIdx="85" presStyleCnt="226"/>
      <dgm:spPr/>
    </dgm:pt>
    <dgm:pt modelId="{4DE9E0EA-0495-45B4-BFBA-5C9BF370DFDA}" type="pres">
      <dgm:prSet presAssocID="{02EA5422-2475-40BA-8A21-A3761ABE1FE7}" presName="txAndLines1" presStyleCnt="0"/>
      <dgm:spPr/>
    </dgm:pt>
    <dgm:pt modelId="{EFC6E825-D16E-4149-8E3B-9380592FA24A}" type="pres">
      <dgm:prSet presAssocID="{02EA5422-2475-40BA-8A21-A3761ABE1FE7}" presName="anchor1" presStyleCnt="0"/>
      <dgm:spPr/>
    </dgm:pt>
    <dgm:pt modelId="{B05672B7-7C35-4F50-9622-F6BB93474307}" type="pres">
      <dgm:prSet presAssocID="{02EA5422-2475-40BA-8A21-A3761ABE1FE7}" presName="backup1" presStyleCnt="0"/>
      <dgm:spPr/>
    </dgm:pt>
    <dgm:pt modelId="{44E71E86-1395-4A92-8C66-C3CFE0C8D8B0}" type="pres">
      <dgm:prSet presAssocID="{02EA5422-2475-40BA-8A21-A3761ABE1FE7}" presName="preLine1" presStyleLbl="parChTrans1D1" presStyleIdx="86" presStyleCnt="226"/>
      <dgm:spPr/>
    </dgm:pt>
    <dgm:pt modelId="{F68BF0F4-E05F-49B2-9BF7-CA82C5CABEE0}" type="pres">
      <dgm:prSet presAssocID="{02EA5422-2475-40BA-8A21-A3761ABE1FE7}" presName="desTx1" presStyleLbl="revTx" presStyleIdx="0" presStyleCnt="0">
        <dgm:presLayoutVars>
          <dgm:bulletEnabled val="1"/>
        </dgm:presLayoutVars>
      </dgm:prSet>
      <dgm:spPr/>
    </dgm:pt>
    <dgm:pt modelId="{209D3479-7531-4CCA-A0D7-282329CAFE35}" type="pres">
      <dgm:prSet presAssocID="{02EA5422-2475-40BA-8A21-A3761ABE1FE7}" presName="postLine1" presStyleLbl="parChTrans1D1" presStyleIdx="87" presStyleCnt="226"/>
      <dgm:spPr/>
    </dgm:pt>
    <dgm:pt modelId="{3CDF1C82-3E62-405B-8FFA-2C429263D908}" type="pres">
      <dgm:prSet presAssocID="{566BA80C-5AC5-4F7D-8569-9A3CD140EADC}" presName="Name11" presStyleLbl="parChTrans1D1" presStyleIdx="88" presStyleCnt="226"/>
      <dgm:spPr/>
    </dgm:pt>
    <dgm:pt modelId="{AB976FEC-ED91-4EF4-A9BA-C2F8136A0A63}" type="pres">
      <dgm:prSet presAssocID="{566BA80C-5AC5-4F7D-8569-9A3CD140EADC}" presName="Name31" presStyleLbl="parChTrans1D1" presStyleIdx="89" presStyleCnt="226"/>
      <dgm:spPr/>
    </dgm:pt>
    <dgm:pt modelId="{3058A8A3-CBA6-4A1E-B12E-4D64CB80C209}" type="pres">
      <dgm:prSet presAssocID="{065E6A8E-1D64-4CBF-B46D-C72669644746}" presName="txAndLines1" presStyleCnt="0"/>
      <dgm:spPr/>
    </dgm:pt>
    <dgm:pt modelId="{80FDFD24-FE7D-4DFB-BA95-274F375EAE52}" type="pres">
      <dgm:prSet presAssocID="{065E6A8E-1D64-4CBF-B46D-C72669644746}" presName="anchor1" presStyleCnt="0"/>
      <dgm:spPr/>
    </dgm:pt>
    <dgm:pt modelId="{58E94615-0910-4C03-A385-6FAA2A5827B0}" type="pres">
      <dgm:prSet presAssocID="{065E6A8E-1D64-4CBF-B46D-C72669644746}" presName="backup1" presStyleCnt="0"/>
      <dgm:spPr/>
    </dgm:pt>
    <dgm:pt modelId="{E9ADBB0B-1054-4B0C-8EA9-8429202B98D0}" type="pres">
      <dgm:prSet presAssocID="{065E6A8E-1D64-4CBF-B46D-C72669644746}" presName="preLine1" presStyleLbl="parChTrans1D1" presStyleIdx="90" presStyleCnt="226"/>
      <dgm:spPr/>
    </dgm:pt>
    <dgm:pt modelId="{358FAFAC-9EC0-4849-93E0-72C63081B0E3}" type="pres">
      <dgm:prSet presAssocID="{065E6A8E-1D64-4CBF-B46D-C72669644746}" presName="desTx1" presStyleLbl="revTx" presStyleIdx="0" presStyleCnt="0">
        <dgm:presLayoutVars>
          <dgm:bulletEnabled val="1"/>
        </dgm:presLayoutVars>
      </dgm:prSet>
      <dgm:spPr/>
    </dgm:pt>
    <dgm:pt modelId="{D657EFDB-1062-4DFC-B187-23896B42DB75}" type="pres">
      <dgm:prSet presAssocID="{065E6A8E-1D64-4CBF-B46D-C72669644746}" presName="postLine1" presStyleLbl="parChTrans1D1" presStyleIdx="91" presStyleCnt="226"/>
      <dgm:spPr/>
    </dgm:pt>
    <dgm:pt modelId="{41029421-AED9-45D6-A3F4-1B37F49D428C}" type="pres">
      <dgm:prSet presAssocID="{35814C7E-02D3-42B4-BBF2-086AD2AAD555}" presName="Name11" presStyleLbl="parChTrans1D1" presStyleIdx="92" presStyleCnt="226"/>
      <dgm:spPr/>
    </dgm:pt>
    <dgm:pt modelId="{D7AB348D-C36B-49E7-A972-985A23AC50E8}" type="pres">
      <dgm:prSet presAssocID="{35814C7E-02D3-42B4-BBF2-086AD2AAD555}" presName="Name31" presStyleLbl="parChTrans1D1" presStyleIdx="93" presStyleCnt="226"/>
      <dgm:spPr/>
    </dgm:pt>
    <dgm:pt modelId="{BE105667-3D79-46C8-B155-7B3F897F3A6B}" type="pres">
      <dgm:prSet presAssocID="{F6AA3461-59E5-4178-8682-DDF14570D70D}" presName="txAndLines1" presStyleCnt="0"/>
      <dgm:spPr/>
    </dgm:pt>
    <dgm:pt modelId="{329CBBDC-8199-4480-9A77-2D40BE2A7698}" type="pres">
      <dgm:prSet presAssocID="{F6AA3461-59E5-4178-8682-DDF14570D70D}" presName="anchor1" presStyleCnt="0"/>
      <dgm:spPr/>
    </dgm:pt>
    <dgm:pt modelId="{A1283B64-390B-4F77-B5ED-F90F158F7430}" type="pres">
      <dgm:prSet presAssocID="{F6AA3461-59E5-4178-8682-DDF14570D70D}" presName="backup1" presStyleCnt="0"/>
      <dgm:spPr/>
    </dgm:pt>
    <dgm:pt modelId="{9C055834-166B-4E7C-9169-8042CD23C98C}" type="pres">
      <dgm:prSet presAssocID="{F6AA3461-59E5-4178-8682-DDF14570D70D}" presName="preLine1" presStyleLbl="parChTrans1D1" presStyleIdx="94" presStyleCnt="226"/>
      <dgm:spPr/>
    </dgm:pt>
    <dgm:pt modelId="{F246A6EA-AB40-452C-BF1E-B9CFB814D62F}" type="pres">
      <dgm:prSet presAssocID="{F6AA3461-59E5-4178-8682-DDF14570D70D}" presName="desTx1" presStyleLbl="revTx" presStyleIdx="0" presStyleCnt="0">
        <dgm:presLayoutVars>
          <dgm:bulletEnabled val="1"/>
        </dgm:presLayoutVars>
      </dgm:prSet>
      <dgm:spPr/>
    </dgm:pt>
    <dgm:pt modelId="{334D3AEB-67DF-42D6-BA10-36DC0C1CEE15}" type="pres">
      <dgm:prSet presAssocID="{F6AA3461-59E5-4178-8682-DDF14570D70D}" presName="postLine1" presStyleLbl="parChTrans1D1" presStyleIdx="95" presStyleCnt="226"/>
      <dgm:spPr/>
    </dgm:pt>
    <dgm:pt modelId="{B9ACAD1E-C2BC-4D1C-8AB6-FC81ECC1A39A}" type="pres">
      <dgm:prSet presAssocID="{68318F9A-070B-4964-B8BA-1B94381DB73C}" presName="Name11" presStyleLbl="parChTrans1D1" presStyleIdx="96" presStyleCnt="226"/>
      <dgm:spPr/>
    </dgm:pt>
    <dgm:pt modelId="{8FC9480B-1B01-4E19-B10F-A12402530236}" type="pres">
      <dgm:prSet presAssocID="{68318F9A-070B-4964-B8BA-1B94381DB73C}" presName="Name31" presStyleLbl="parChTrans1D1" presStyleIdx="97" presStyleCnt="226"/>
      <dgm:spPr/>
    </dgm:pt>
    <dgm:pt modelId="{498B0A8B-EDB9-4B9F-986C-3BB2020EA46C}" type="pres">
      <dgm:prSet presAssocID="{32F64518-1872-48DA-B16B-95F2CD97BDA5}" presName="txAndLines1" presStyleCnt="0"/>
      <dgm:spPr/>
    </dgm:pt>
    <dgm:pt modelId="{22AF6065-8241-4E46-898E-098B69764D83}" type="pres">
      <dgm:prSet presAssocID="{32F64518-1872-48DA-B16B-95F2CD97BDA5}" presName="anchor1" presStyleCnt="0"/>
      <dgm:spPr/>
    </dgm:pt>
    <dgm:pt modelId="{454263DC-F7A4-4B19-BE35-FE4D6CB804FE}" type="pres">
      <dgm:prSet presAssocID="{32F64518-1872-48DA-B16B-95F2CD97BDA5}" presName="backup1" presStyleCnt="0"/>
      <dgm:spPr/>
    </dgm:pt>
    <dgm:pt modelId="{4F9C9A65-2431-4B73-B990-3C26E6D635B4}" type="pres">
      <dgm:prSet presAssocID="{32F64518-1872-48DA-B16B-95F2CD97BDA5}" presName="preLine1" presStyleLbl="parChTrans1D1" presStyleIdx="98" presStyleCnt="226"/>
      <dgm:spPr/>
    </dgm:pt>
    <dgm:pt modelId="{417AF87E-BB59-4C74-8678-9DDA9B1DF720}" type="pres">
      <dgm:prSet presAssocID="{32F64518-1872-48DA-B16B-95F2CD97BDA5}" presName="desTx1" presStyleLbl="revTx" presStyleIdx="0" presStyleCnt="0">
        <dgm:presLayoutVars>
          <dgm:bulletEnabled val="1"/>
        </dgm:presLayoutVars>
      </dgm:prSet>
      <dgm:spPr/>
    </dgm:pt>
    <dgm:pt modelId="{D126C95A-513D-49FF-A059-D64A144DDE1B}" type="pres">
      <dgm:prSet presAssocID="{32F64518-1872-48DA-B16B-95F2CD97BDA5}" presName="postLine1" presStyleLbl="parChTrans1D1" presStyleIdx="99" presStyleCnt="226"/>
      <dgm:spPr/>
    </dgm:pt>
    <dgm:pt modelId="{9EAA7263-F87C-4938-A17C-58B8CD0D1B17}" type="pres">
      <dgm:prSet presAssocID="{9F469BAA-9A7A-4245-B457-9D64C96B67B7}" presName="Name11" presStyleLbl="parChTrans1D1" presStyleIdx="100" presStyleCnt="226"/>
      <dgm:spPr/>
    </dgm:pt>
    <dgm:pt modelId="{E34F1066-36F9-4201-8AF7-9ADE319E134F}" type="pres">
      <dgm:prSet presAssocID="{9F469BAA-9A7A-4245-B457-9D64C96B67B7}" presName="Name31" presStyleLbl="parChTrans1D1" presStyleIdx="101" presStyleCnt="226"/>
      <dgm:spPr/>
    </dgm:pt>
    <dgm:pt modelId="{E78BB84A-839C-49BA-9F9B-CBA80C69E295}" type="pres">
      <dgm:prSet presAssocID="{E27A6E06-D669-4635-BB86-B92287B64581}" presName="txAndLines1" presStyleCnt="0"/>
      <dgm:spPr/>
    </dgm:pt>
    <dgm:pt modelId="{A70E1F62-DA9C-43D8-A0C8-400C9643257B}" type="pres">
      <dgm:prSet presAssocID="{E27A6E06-D669-4635-BB86-B92287B64581}" presName="anchor1" presStyleCnt="0"/>
      <dgm:spPr/>
    </dgm:pt>
    <dgm:pt modelId="{1002ABA0-3F19-4BD0-B277-F624CCA30145}" type="pres">
      <dgm:prSet presAssocID="{E27A6E06-D669-4635-BB86-B92287B64581}" presName="backup1" presStyleCnt="0"/>
      <dgm:spPr/>
    </dgm:pt>
    <dgm:pt modelId="{E7CB4762-8395-44A9-BF42-14B29628530A}" type="pres">
      <dgm:prSet presAssocID="{E27A6E06-D669-4635-BB86-B92287B64581}" presName="preLine1" presStyleLbl="parChTrans1D1" presStyleIdx="102" presStyleCnt="226"/>
      <dgm:spPr/>
    </dgm:pt>
    <dgm:pt modelId="{E61569D2-6C5A-4380-AB61-0E1FE232381E}" type="pres">
      <dgm:prSet presAssocID="{E27A6E06-D669-4635-BB86-B92287B64581}" presName="desTx1" presStyleLbl="revTx" presStyleIdx="0" presStyleCnt="0">
        <dgm:presLayoutVars>
          <dgm:bulletEnabled val="1"/>
        </dgm:presLayoutVars>
      </dgm:prSet>
      <dgm:spPr/>
    </dgm:pt>
    <dgm:pt modelId="{C97A3678-72D9-4B34-AAB5-E284B5BB1B7F}" type="pres">
      <dgm:prSet presAssocID="{E27A6E06-D669-4635-BB86-B92287B64581}" presName="postLine1" presStyleLbl="parChTrans1D1" presStyleIdx="103" presStyleCnt="226"/>
      <dgm:spPr/>
    </dgm:pt>
    <dgm:pt modelId="{9F484F9A-4109-4609-B273-4ED59A4F7AFB}" type="pres">
      <dgm:prSet presAssocID="{AAB88197-374B-4B25-8E84-85B6440B7D1B}" presName="Name11" presStyleLbl="parChTrans1D1" presStyleIdx="104" presStyleCnt="226"/>
      <dgm:spPr/>
    </dgm:pt>
    <dgm:pt modelId="{0CFE35FF-472A-41BE-942B-582EEF79AA0A}" type="pres">
      <dgm:prSet presAssocID="{AAB88197-374B-4B25-8E84-85B6440B7D1B}" presName="Name31" presStyleLbl="parChTrans1D1" presStyleIdx="105" presStyleCnt="226"/>
      <dgm:spPr/>
    </dgm:pt>
    <dgm:pt modelId="{55033291-4DC8-4FB1-87BF-D9E0D7E6CC33}" type="pres">
      <dgm:prSet presAssocID="{4B6E1CA3-194A-4E02-AC41-93FA6D3C17FC}" presName="txAndLines1" presStyleCnt="0"/>
      <dgm:spPr/>
    </dgm:pt>
    <dgm:pt modelId="{3C3F6EE4-18BE-4098-8066-73E086A6F342}" type="pres">
      <dgm:prSet presAssocID="{4B6E1CA3-194A-4E02-AC41-93FA6D3C17FC}" presName="anchor1" presStyleCnt="0"/>
      <dgm:spPr/>
    </dgm:pt>
    <dgm:pt modelId="{9C7360DA-B131-452F-8666-A2F5AE96F0AE}" type="pres">
      <dgm:prSet presAssocID="{4B6E1CA3-194A-4E02-AC41-93FA6D3C17FC}" presName="backup1" presStyleCnt="0"/>
      <dgm:spPr/>
    </dgm:pt>
    <dgm:pt modelId="{47C44C40-5975-4890-BA69-248168E6C05A}" type="pres">
      <dgm:prSet presAssocID="{4B6E1CA3-194A-4E02-AC41-93FA6D3C17FC}" presName="preLine1" presStyleLbl="parChTrans1D1" presStyleIdx="106" presStyleCnt="226"/>
      <dgm:spPr/>
    </dgm:pt>
    <dgm:pt modelId="{9A89883E-8CD2-4D92-A079-C5204C130121}" type="pres">
      <dgm:prSet presAssocID="{4B6E1CA3-194A-4E02-AC41-93FA6D3C17FC}" presName="desTx1" presStyleLbl="revTx" presStyleIdx="0" presStyleCnt="0">
        <dgm:presLayoutVars>
          <dgm:bulletEnabled val="1"/>
        </dgm:presLayoutVars>
      </dgm:prSet>
      <dgm:spPr/>
    </dgm:pt>
    <dgm:pt modelId="{CF91065E-5DE0-4F84-94ED-252819156E4C}" type="pres">
      <dgm:prSet presAssocID="{4B6E1CA3-194A-4E02-AC41-93FA6D3C17FC}" presName="postLine1" presStyleLbl="parChTrans1D1" presStyleIdx="107" presStyleCnt="226"/>
      <dgm:spPr/>
    </dgm:pt>
    <dgm:pt modelId="{E512FC46-BC3F-438D-92E2-753EB48B84F6}" type="pres">
      <dgm:prSet presAssocID="{79E8D042-158C-4C68-85A5-CBD376CBF449}" presName="Name11" presStyleLbl="parChTrans1D1" presStyleIdx="108" presStyleCnt="226"/>
      <dgm:spPr/>
    </dgm:pt>
    <dgm:pt modelId="{65840F3B-4D74-4FB6-A1F7-3098BD8E3245}" type="pres">
      <dgm:prSet presAssocID="{79E8D042-158C-4C68-85A5-CBD376CBF449}" presName="Name31" presStyleLbl="parChTrans1D1" presStyleIdx="109" presStyleCnt="226"/>
      <dgm:spPr/>
    </dgm:pt>
    <dgm:pt modelId="{1344966C-BC12-4252-94D2-62DB0F94A312}" type="pres">
      <dgm:prSet presAssocID="{050CF0AD-88D1-459F-928D-8CD2BB71B99C}" presName="txAndLines1" presStyleCnt="0"/>
      <dgm:spPr/>
    </dgm:pt>
    <dgm:pt modelId="{65DB30F5-7CFE-4C20-8D6D-A943399E7DBB}" type="pres">
      <dgm:prSet presAssocID="{050CF0AD-88D1-459F-928D-8CD2BB71B99C}" presName="anchor1" presStyleCnt="0"/>
      <dgm:spPr/>
    </dgm:pt>
    <dgm:pt modelId="{3716A67D-5B81-4B40-AC38-1297674C83DE}" type="pres">
      <dgm:prSet presAssocID="{050CF0AD-88D1-459F-928D-8CD2BB71B99C}" presName="backup1" presStyleCnt="0"/>
      <dgm:spPr/>
    </dgm:pt>
    <dgm:pt modelId="{751993CB-1640-4FEB-BA94-FE83A447ED4B}" type="pres">
      <dgm:prSet presAssocID="{050CF0AD-88D1-459F-928D-8CD2BB71B99C}" presName="preLine1" presStyleLbl="parChTrans1D1" presStyleIdx="110" presStyleCnt="226"/>
      <dgm:spPr/>
    </dgm:pt>
    <dgm:pt modelId="{6B834583-E167-44CC-A079-504B3DD94979}" type="pres">
      <dgm:prSet presAssocID="{050CF0AD-88D1-459F-928D-8CD2BB71B99C}" presName="desTx1" presStyleLbl="revTx" presStyleIdx="0" presStyleCnt="0">
        <dgm:presLayoutVars>
          <dgm:bulletEnabled val="1"/>
        </dgm:presLayoutVars>
      </dgm:prSet>
      <dgm:spPr/>
    </dgm:pt>
    <dgm:pt modelId="{9E23921C-455B-4157-92C6-0F8439020DC3}" type="pres">
      <dgm:prSet presAssocID="{050CF0AD-88D1-459F-928D-8CD2BB71B99C}" presName="postLine1" presStyleLbl="parChTrans1D1" presStyleIdx="111" presStyleCnt="226"/>
      <dgm:spPr/>
    </dgm:pt>
    <dgm:pt modelId="{B56903A8-0878-4E15-A2DE-DBEC95568DE8}" type="pres">
      <dgm:prSet presAssocID="{ED9B2AA3-B886-4718-9515-BD25C877AC91}" presName="spPost1" presStyleCnt="0"/>
      <dgm:spPr/>
    </dgm:pt>
    <dgm:pt modelId="{A9EFC1D7-8BE1-4F2D-8701-5971C8236BF1}" type="pres">
      <dgm:prSet presAssocID="{771AF7B4-C8D8-4616-A2B7-5F9CAC081CB7}" presName="parTx2" presStyleLbl="node1" presStyleIdx="1" presStyleCnt="4"/>
      <dgm:spPr/>
    </dgm:pt>
    <dgm:pt modelId="{B34EF1B2-9B96-4630-B1F1-A706716ADB7E}" type="pres">
      <dgm:prSet presAssocID="{771AF7B4-C8D8-4616-A2B7-5F9CAC081CB7}" presName="spPre2" presStyleCnt="0"/>
      <dgm:spPr/>
    </dgm:pt>
    <dgm:pt modelId="{BD319162-32B3-4E7A-A8FE-9C9031400CFB}" type="pres">
      <dgm:prSet presAssocID="{771AF7B4-C8D8-4616-A2B7-5F9CAC081CB7}" presName="chLin2" presStyleCnt="0"/>
      <dgm:spPr/>
    </dgm:pt>
    <dgm:pt modelId="{D70DE1A1-3CA2-4289-98A1-DE3E097DAC85}" type="pres">
      <dgm:prSet presAssocID="{82F17612-AA6F-4111-B970-21CF1CD7E99C}" presName="Name45" presStyleLbl="parChTrans1D1" presStyleIdx="112" presStyleCnt="226"/>
      <dgm:spPr/>
    </dgm:pt>
    <dgm:pt modelId="{60F43D0F-D860-4B41-BBF5-EE3BDB91F33E}" type="pres">
      <dgm:prSet presAssocID="{82F17612-AA6F-4111-B970-21CF1CD7E99C}" presName="Name65" presStyleLbl="parChTrans1D1" presStyleIdx="113" presStyleCnt="226"/>
      <dgm:spPr/>
    </dgm:pt>
    <dgm:pt modelId="{A3341A75-F8D8-4D3B-9E4B-46A57C4F0EA2}" type="pres">
      <dgm:prSet presAssocID="{962430D0-BA6A-410E-A008-EDB64C26EFD5}" presName="txAndLines2" presStyleCnt="0"/>
      <dgm:spPr/>
    </dgm:pt>
    <dgm:pt modelId="{8A5F15F1-C8FD-493B-8CD6-35661BEBE31F}" type="pres">
      <dgm:prSet presAssocID="{962430D0-BA6A-410E-A008-EDB64C26EFD5}" presName="anchor2" presStyleCnt="0"/>
      <dgm:spPr/>
    </dgm:pt>
    <dgm:pt modelId="{6020C64A-6735-4542-910B-8D81F5F29EF5}" type="pres">
      <dgm:prSet presAssocID="{962430D0-BA6A-410E-A008-EDB64C26EFD5}" presName="backup2" presStyleCnt="0"/>
      <dgm:spPr/>
    </dgm:pt>
    <dgm:pt modelId="{49623963-0646-4EE5-8E63-9466ED32768D}" type="pres">
      <dgm:prSet presAssocID="{962430D0-BA6A-410E-A008-EDB64C26EFD5}" presName="preLine2" presStyleLbl="parChTrans1D1" presStyleIdx="114" presStyleCnt="226"/>
      <dgm:spPr/>
    </dgm:pt>
    <dgm:pt modelId="{F49ED71A-952E-42A2-B1A7-50BADED565C0}" type="pres">
      <dgm:prSet presAssocID="{962430D0-BA6A-410E-A008-EDB64C26EFD5}" presName="desTx2" presStyleLbl="revTx" presStyleIdx="0" presStyleCnt="0">
        <dgm:presLayoutVars>
          <dgm:bulletEnabled val="1"/>
        </dgm:presLayoutVars>
      </dgm:prSet>
      <dgm:spPr/>
    </dgm:pt>
    <dgm:pt modelId="{9D016548-EAAC-43E4-81C1-0A2980136FE0}" type="pres">
      <dgm:prSet presAssocID="{962430D0-BA6A-410E-A008-EDB64C26EFD5}" presName="postLine2" presStyleLbl="parChTrans1D1" presStyleIdx="115" presStyleCnt="226"/>
      <dgm:spPr/>
    </dgm:pt>
    <dgm:pt modelId="{29B537FE-DE44-4211-8912-D746C317451F}" type="pres">
      <dgm:prSet presAssocID="{DC41D32F-7382-4D7D-8A2A-5D69DC6E586B}" presName="Name45" presStyleLbl="parChTrans1D1" presStyleIdx="116" presStyleCnt="226"/>
      <dgm:spPr/>
    </dgm:pt>
    <dgm:pt modelId="{3D0BC3BA-B796-473D-A20C-F3AF9E087AE1}" type="pres">
      <dgm:prSet presAssocID="{DC41D32F-7382-4D7D-8A2A-5D69DC6E586B}" presName="Name65" presStyleLbl="parChTrans1D1" presStyleIdx="117" presStyleCnt="226"/>
      <dgm:spPr/>
    </dgm:pt>
    <dgm:pt modelId="{830FCD26-7DEC-41BF-9F3C-9F70D12317FE}" type="pres">
      <dgm:prSet presAssocID="{DD6DD099-67BA-4BDD-9CF0-FDA7C124D7C1}" presName="txAndLines2" presStyleCnt="0"/>
      <dgm:spPr/>
    </dgm:pt>
    <dgm:pt modelId="{2F5A019B-7A20-4DF5-9869-39F9AAA0B48F}" type="pres">
      <dgm:prSet presAssocID="{DD6DD099-67BA-4BDD-9CF0-FDA7C124D7C1}" presName="anchor2" presStyleCnt="0"/>
      <dgm:spPr/>
    </dgm:pt>
    <dgm:pt modelId="{62FC6DDE-1FB6-4BBC-BBCE-7F2766C17009}" type="pres">
      <dgm:prSet presAssocID="{DD6DD099-67BA-4BDD-9CF0-FDA7C124D7C1}" presName="backup2" presStyleCnt="0"/>
      <dgm:spPr/>
    </dgm:pt>
    <dgm:pt modelId="{145EB410-236C-4095-A2F7-167DD4DF6967}" type="pres">
      <dgm:prSet presAssocID="{DD6DD099-67BA-4BDD-9CF0-FDA7C124D7C1}" presName="preLine2" presStyleLbl="parChTrans1D1" presStyleIdx="118" presStyleCnt="226"/>
      <dgm:spPr/>
    </dgm:pt>
    <dgm:pt modelId="{8A2AF5FB-F8BB-4E9C-A3B5-44F2191A3712}" type="pres">
      <dgm:prSet presAssocID="{DD6DD099-67BA-4BDD-9CF0-FDA7C124D7C1}" presName="desTx2" presStyleLbl="revTx" presStyleIdx="0" presStyleCnt="0">
        <dgm:presLayoutVars>
          <dgm:bulletEnabled val="1"/>
        </dgm:presLayoutVars>
      </dgm:prSet>
      <dgm:spPr/>
    </dgm:pt>
    <dgm:pt modelId="{5ADBEB02-8797-4EFA-84B8-D9E70AEA2E71}" type="pres">
      <dgm:prSet presAssocID="{DD6DD099-67BA-4BDD-9CF0-FDA7C124D7C1}" presName="postLine2" presStyleLbl="parChTrans1D1" presStyleIdx="119" presStyleCnt="226"/>
      <dgm:spPr/>
    </dgm:pt>
    <dgm:pt modelId="{505545CE-7A7D-4186-90F0-A5989DD22D0E}" type="pres">
      <dgm:prSet presAssocID="{89AA281E-2A8B-430E-95D9-805F0FDFA7B9}" presName="Name45" presStyleLbl="parChTrans1D1" presStyleIdx="120" presStyleCnt="226"/>
      <dgm:spPr/>
    </dgm:pt>
    <dgm:pt modelId="{DCCB9791-97D2-43A4-8929-941809B0A5F1}" type="pres">
      <dgm:prSet presAssocID="{89AA281E-2A8B-430E-95D9-805F0FDFA7B9}" presName="Name65" presStyleLbl="parChTrans1D1" presStyleIdx="121" presStyleCnt="226"/>
      <dgm:spPr/>
    </dgm:pt>
    <dgm:pt modelId="{E84A5697-9B4B-4AD5-933E-623B7476C5C8}" type="pres">
      <dgm:prSet presAssocID="{5E1E8C85-F4FB-49BD-9F6E-819CB4EDB311}" presName="txAndLines2" presStyleCnt="0"/>
      <dgm:spPr/>
    </dgm:pt>
    <dgm:pt modelId="{3117C9BB-31D0-4DA6-A58B-7E648A6C73E2}" type="pres">
      <dgm:prSet presAssocID="{5E1E8C85-F4FB-49BD-9F6E-819CB4EDB311}" presName="anchor2" presStyleCnt="0"/>
      <dgm:spPr/>
    </dgm:pt>
    <dgm:pt modelId="{9A4546A4-B864-4079-9704-FF267A69D66C}" type="pres">
      <dgm:prSet presAssocID="{5E1E8C85-F4FB-49BD-9F6E-819CB4EDB311}" presName="backup2" presStyleCnt="0"/>
      <dgm:spPr/>
    </dgm:pt>
    <dgm:pt modelId="{307F5450-C9B2-451B-9488-CDB8FDFBCE3E}" type="pres">
      <dgm:prSet presAssocID="{5E1E8C85-F4FB-49BD-9F6E-819CB4EDB311}" presName="preLine2" presStyleLbl="parChTrans1D1" presStyleIdx="122" presStyleCnt="226"/>
      <dgm:spPr/>
    </dgm:pt>
    <dgm:pt modelId="{42B29999-E830-48D3-9636-F1ABA5ED1FD8}" type="pres">
      <dgm:prSet presAssocID="{5E1E8C85-F4FB-49BD-9F6E-819CB4EDB311}" presName="desTx2" presStyleLbl="revTx" presStyleIdx="0" presStyleCnt="0">
        <dgm:presLayoutVars>
          <dgm:bulletEnabled val="1"/>
        </dgm:presLayoutVars>
      </dgm:prSet>
      <dgm:spPr/>
    </dgm:pt>
    <dgm:pt modelId="{6D979B53-D9FF-44B4-AC38-BF5BE720D744}" type="pres">
      <dgm:prSet presAssocID="{5E1E8C85-F4FB-49BD-9F6E-819CB4EDB311}" presName="postLine2" presStyleLbl="parChTrans1D1" presStyleIdx="123" presStyleCnt="226"/>
      <dgm:spPr/>
    </dgm:pt>
    <dgm:pt modelId="{C8EF4E8D-C5A2-47CB-B230-F09C88B0385F}" type="pres">
      <dgm:prSet presAssocID="{8BB502BD-C20B-4E24-8017-73638CAF8123}" presName="Name45" presStyleLbl="parChTrans1D1" presStyleIdx="124" presStyleCnt="226"/>
      <dgm:spPr/>
    </dgm:pt>
    <dgm:pt modelId="{EB63DBC4-4685-45AD-9A63-1FAE29A8F046}" type="pres">
      <dgm:prSet presAssocID="{8BB502BD-C20B-4E24-8017-73638CAF8123}" presName="Name65" presStyleLbl="parChTrans1D1" presStyleIdx="125" presStyleCnt="226"/>
      <dgm:spPr/>
    </dgm:pt>
    <dgm:pt modelId="{9CAE5E97-7FB5-4BCD-863A-C8DEDE405018}" type="pres">
      <dgm:prSet presAssocID="{60F0E2C0-A35A-47A1-A177-D4F84F7776F7}" presName="txAndLines2" presStyleCnt="0"/>
      <dgm:spPr/>
    </dgm:pt>
    <dgm:pt modelId="{EC1230F9-6EE1-4B99-A2CF-39D1D2CBDCFC}" type="pres">
      <dgm:prSet presAssocID="{60F0E2C0-A35A-47A1-A177-D4F84F7776F7}" presName="anchor2" presStyleCnt="0"/>
      <dgm:spPr/>
    </dgm:pt>
    <dgm:pt modelId="{48E8ABC4-7C03-4CC3-BC6D-EAEF34D22D59}" type="pres">
      <dgm:prSet presAssocID="{60F0E2C0-A35A-47A1-A177-D4F84F7776F7}" presName="backup2" presStyleCnt="0"/>
      <dgm:spPr/>
    </dgm:pt>
    <dgm:pt modelId="{F56E1712-FE95-428A-AD7D-65559F1A546E}" type="pres">
      <dgm:prSet presAssocID="{60F0E2C0-A35A-47A1-A177-D4F84F7776F7}" presName="preLine2" presStyleLbl="parChTrans1D1" presStyleIdx="126" presStyleCnt="226"/>
      <dgm:spPr/>
    </dgm:pt>
    <dgm:pt modelId="{63FE4589-E40A-4563-B997-AC9F09C77F87}" type="pres">
      <dgm:prSet presAssocID="{60F0E2C0-A35A-47A1-A177-D4F84F7776F7}" presName="desTx2" presStyleLbl="revTx" presStyleIdx="0" presStyleCnt="0">
        <dgm:presLayoutVars>
          <dgm:bulletEnabled val="1"/>
        </dgm:presLayoutVars>
      </dgm:prSet>
      <dgm:spPr/>
    </dgm:pt>
    <dgm:pt modelId="{BF28D1D9-0EA9-49B8-925E-A2F2E8CD1468}" type="pres">
      <dgm:prSet presAssocID="{60F0E2C0-A35A-47A1-A177-D4F84F7776F7}" presName="postLine2" presStyleLbl="parChTrans1D1" presStyleIdx="127" presStyleCnt="226"/>
      <dgm:spPr/>
    </dgm:pt>
    <dgm:pt modelId="{282D0D80-28F4-4ADD-92CF-2EC43345C472}" type="pres">
      <dgm:prSet presAssocID="{9B468DBB-CCAA-4CC5-A8FB-32F357825EBB}" presName="Name45" presStyleLbl="parChTrans1D1" presStyleIdx="128" presStyleCnt="226"/>
      <dgm:spPr/>
    </dgm:pt>
    <dgm:pt modelId="{B54E6265-EC5A-4180-B2A1-A5DB8F375330}" type="pres">
      <dgm:prSet presAssocID="{9B468DBB-CCAA-4CC5-A8FB-32F357825EBB}" presName="Name65" presStyleLbl="parChTrans1D1" presStyleIdx="129" presStyleCnt="226"/>
      <dgm:spPr/>
    </dgm:pt>
    <dgm:pt modelId="{13CDF389-E30E-410B-A907-104578ABDC0F}" type="pres">
      <dgm:prSet presAssocID="{ED0F5C24-D527-4B40-A8E3-B57AECA0520A}" presName="txAndLines2" presStyleCnt="0"/>
      <dgm:spPr/>
    </dgm:pt>
    <dgm:pt modelId="{75AA4087-FE93-47A7-A874-D9C07353555C}" type="pres">
      <dgm:prSet presAssocID="{ED0F5C24-D527-4B40-A8E3-B57AECA0520A}" presName="anchor2" presStyleCnt="0"/>
      <dgm:spPr/>
    </dgm:pt>
    <dgm:pt modelId="{6AAC9F54-D38E-4A09-96DF-76ED51BF76CB}" type="pres">
      <dgm:prSet presAssocID="{ED0F5C24-D527-4B40-A8E3-B57AECA0520A}" presName="backup2" presStyleCnt="0"/>
      <dgm:spPr/>
    </dgm:pt>
    <dgm:pt modelId="{9B807556-F9FF-48C2-A670-692F77995FDA}" type="pres">
      <dgm:prSet presAssocID="{ED0F5C24-D527-4B40-A8E3-B57AECA0520A}" presName="preLine2" presStyleLbl="parChTrans1D1" presStyleIdx="130" presStyleCnt="226"/>
      <dgm:spPr/>
    </dgm:pt>
    <dgm:pt modelId="{A8BA4F54-3851-45E2-A0C3-A983235BD595}" type="pres">
      <dgm:prSet presAssocID="{ED0F5C24-D527-4B40-A8E3-B57AECA0520A}" presName="desTx2" presStyleLbl="revTx" presStyleIdx="0" presStyleCnt="0">
        <dgm:presLayoutVars>
          <dgm:bulletEnabled val="1"/>
        </dgm:presLayoutVars>
      </dgm:prSet>
      <dgm:spPr/>
    </dgm:pt>
    <dgm:pt modelId="{4875C281-A5D2-4226-B999-7A66A3EF29BB}" type="pres">
      <dgm:prSet presAssocID="{ED0F5C24-D527-4B40-A8E3-B57AECA0520A}" presName="postLine2" presStyleLbl="parChTrans1D1" presStyleIdx="131" presStyleCnt="226"/>
      <dgm:spPr/>
    </dgm:pt>
    <dgm:pt modelId="{381D6F0D-7E4A-4FD9-BF6B-37C460F104C5}" type="pres">
      <dgm:prSet presAssocID="{65EFD091-1B84-4F4A-9854-06455092582C}" presName="Name45" presStyleLbl="parChTrans1D1" presStyleIdx="132" presStyleCnt="226"/>
      <dgm:spPr/>
    </dgm:pt>
    <dgm:pt modelId="{FD9519DD-DE84-4E9A-871A-A6A6CD28DD52}" type="pres">
      <dgm:prSet presAssocID="{65EFD091-1B84-4F4A-9854-06455092582C}" presName="Name65" presStyleLbl="parChTrans1D1" presStyleIdx="133" presStyleCnt="226"/>
      <dgm:spPr/>
    </dgm:pt>
    <dgm:pt modelId="{6CBE3D45-87A3-4F42-8082-67075804EDDE}" type="pres">
      <dgm:prSet presAssocID="{CD55354C-8929-4278-981F-58E1F8D41A8F}" presName="txAndLines2" presStyleCnt="0"/>
      <dgm:spPr/>
    </dgm:pt>
    <dgm:pt modelId="{7F020FBE-647B-4249-9D5C-8AADB03AA70C}" type="pres">
      <dgm:prSet presAssocID="{CD55354C-8929-4278-981F-58E1F8D41A8F}" presName="anchor2" presStyleCnt="0"/>
      <dgm:spPr/>
    </dgm:pt>
    <dgm:pt modelId="{671B58DD-F42F-41C3-90EC-1F8644E2E0ED}" type="pres">
      <dgm:prSet presAssocID="{CD55354C-8929-4278-981F-58E1F8D41A8F}" presName="backup2" presStyleCnt="0"/>
      <dgm:spPr/>
    </dgm:pt>
    <dgm:pt modelId="{51B10809-177C-46BE-8758-723F3FE2B08A}" type="pres">
      <dgm:prSet presAssocID="{CD55354C-8929-4278-981F-58E1F8D41A8F}" presName="preLine2" presStyleLbl="parChTrans1D1" presStyleIdx="134" presStyleCnt="226"/>
      <dgm:spPr/>
    </dgm:pt>
    <dgm:pt modelId="{19168486-C987-44BC-9278-3784C0323F7A}" type="pres">
      <dgm:prSet presAssocID="{CD55354C-8929-4278-981F-58E1F8D41A8F}" presName="desTx2" presStyleLbl="revTx" presStyleIdx="0" presStyleCnt="0">
        <dgm:presLayoutVars>
          <dgm:bulletEnabled val="1"/>
        </dgm:presLayoutVars>
      </dgm:prSet>
      <dgm:spPr/>
    </dgm:pt>
    <dgm:pt modelId="{232335E7-F634-4677-BB63-77078A4E6743}" type="pres">
      <dgm:prSet presAssocID="{CD55354C-8929-4278-981F-58E1F8D41A8F}" presName="postLine2" presStyleLbl="parChTrans1D1" presStyleIdx="135" presStyleCnt="226"/>
      <dgm:spPr/>
    </dgm:pt>
    <dgm:pt modelId="{F7337EE0-6922-4AAD-88A9-2EF061017558}" type="pres">
      <dgm:prSet presAssocID="{777451DC-98FA-4D24-92CC-DF0F221658C8}" presName="Name45" presStyleLbl="parChTrans1D1" presStyleIdx="136" presStyleCnt="226"/>
      <dgm:spPr/>
    </dgm:pt>
    <dgm:pt modelId="{DBC5077F-28AA-4DF7-931A-9DC4F0ADBFD1}" type="pres">
      <dgm:prSet presAssocID="{777451DC-98FA-4D24-92CC-DF0F221658C8}" presName="Name65" presStyleLbl="parChTrans1D1" presStyleIdx="137" presStyleCnt="226"/>
      <dgm:spPr/>
    </dgm:pt>
    <dgm:pt modelId="{2329D841-3FDB-448C-89D5-590B9C60F676}" type="pres">
      <dgm:prSet presAssocID="{0003066C-8329-4A94-80D4-58EADC4C55D4}" presName="txAndLines2" presStyleCnt="0"/>
      <dgm:spPr/>
    </dgm:pt>
    <dgm:pt modelId="{D639322E-A11A-45C0-BC50-4BE3FC43F7A0}" type="pres">
      <dgm:prSet presAssocID="{0003066C-8329-4A94-80D4-58EADC4C55D4}" presName="anchor2" presStyleCnt="0"/>
      <dgm:spPr/>
    </dgm:pt>
    <dgm:pt modelId="{E96760FC-FE4B-4708-A282-EA7D4C58D47F}" type="pres">
      <dgm:prSet presAssocID="{0003066C-8329-4A94-80D4-58EADC4C55D4}" presName="backup2" presStyleCnt="0"/>
      <dgm:spPr/>
    </dgm:pt>
    <dgm:pt modelId="{2FEE5AB2-8809-410F-937C-68681CAE0EEE}" type="pres">
      <dgm:prSet presAssocID="{0003066C-8329-4A94-80D4-58EADC4C55D4}" presName="preLine2" presStyleLbl="parChTrans1D1" presStyleIdx="138" presStyleCnt="226"/>
      <dgm:spPr/>
    </dgm:pt>
    <dgm:pt modelId="{3C836BC8-DFEF-45D6-B8EF-59015ABC36ED}" type="pres">
      <dgm:prSet presAssocID="{0003066C-8329-4A94-80D4-58EADC4C55D4}" presName="desTx2" presStyleLbl="revTx" presStyleIdx="0" presStyleCnt="0">
        <dgm:presLayoutVars>
          <dgm:bulletEnabled val="1"/>
        </dgm:presLayoutVars>
      </dgm:prSet>
      <dgm:spPr/>
    </dgm:pt>
    <dgm:pt modelId="{1E180115-E995-4F59-A1BA-22A480A038EF}" type="pres">
      <dgm:prSet presAssocID="{0003066C-8329-4A94-80D4-58EADC4C55D4}" presName="postLine2" presStyleLbl="parChTrans1D1" presStyleIdx="139" presStyleCnt="226"/>
      <dgm:spPr/>
    </dgm:pt>
    <dgm:pt modelId="{91649A4B-899E-4B0B-BAB9-D1E03FBBD4AA}" type="pres">
      <dgm:prSet presAssocID="{1C0067C0-34B2-4A1F-B487-13D89274124C}" presName="Name45" presStyleLbl="parChTrans1D1" presStyleIdx="140" presStyleCnt="226"/>
      <dgm:spPr/>
    </dgm:pt>
    <dgm:pt modelId="{CE97B9B0-9A99-46C1-9EDE-2D2AE6FC87E0}" type="pres">
      <dgm:prSet presAssocID="{1C0067C0-34B2-4A1F-B487-13D89274124C}" presName="Name65" presStyleLbl="parChTrans1D1" presStyleIdx="141" presStyleCnt="226"/>
      <dgm:spPr/>
    </dgm:pt>
    <dgm:pt modelId="{C7CEFB5E-027B-4385-BE6F-15C549CE9C30}" type="pres">
      <dgm:prSet presAssocID="{B949D102-2C52-4F6D-85A5-BF317065AA8C}" presName="txAndLines2" presStyleCnt="0"/>
      <dgm:spPr/>
    </dgm:pt>
    <dgm:pt modelId="{98F8BA63-E29C-4121-967F-7254058532EE}" type="pres">
      <dgm:prSet presAssocID="{B949D102-2C52-4F6D-85A5-BF317065AA8C}" presName="anchor2" presStyleCnt="0"/>
      <dgm:spPr/>
    </dgm:pt>
    <dgm:pt modelId="{A3912A7A-A9E9-419E-AAA9-D83C6AF609B5}" type="pres">
      <dgm:prSet presAssocID="{B949D102-2C52-4F6D-85A5-BF317065AA8C}" presName="backup2" presStyleCnt="0"/>
      <dgm:spPr/>
    </dgm:pt>
    <dgm:pt modelId="{F569C344-933A-4513-BC0C-AFD57CD48BF0}" type="pres">
      <dgm:prSet presAssocID="{B949D102-2C52-4F6D-85A5-BF317065AA8C}" presName="preLine2" presStyleLbl="parChTrans1D1" presStyleIdx="142" presStyleCnt="226"/>
      <dgm:spPr/>
    </dgm:pt>
    <dgm:pt modelId="{E1798DCD-694D-4EAE-A0B4-3181F8768637}" type="pres">
      <dgm:prSet presAssocID="{B949D102-2C52-4F6D-85A5-BF317065AA8C}" presName="desTx2" presStyleLbl="revTx" presStyleIdx="0" presStyleCnt="0">
        <dgm:presLayoutVars>
          <dgm:bulletEnabled val="1"/>
        </dgm:presLayoutVars>
      </dgm:prSet>
      <dgm:spPr/>
    </dgm:pt>
    <dgm:pt modelId="{6C7EC45E-E7AC-4D16-9E16-DD02F567B563}" type="pres">
      <dgm:prSet presAssocID="{B949D102-2C52-4F6D-85A5-BF317065AA8C}" presName="postLine2" presStyleLbl="parChTrans1D1" presStyleIdx="143" presStyleCnt="226"/>
      <dgm:spPr/>
    </dgm:pt>
    <dgm:pt modelId="{B4DB6644-8A0E-4D48-8271-8DAE90AA7C08}" type="pres">
      <dgm:prSet presAssocID="{3BE8B3D4-1652-41E8-94D2-CE486AE70F45}" presName="Name45" presStyleLbl="parChTrans1D1" presStyleIdx="144" presStyleCnt="226"/>
      <dgm:spPr/>
    </dgm:pt>
    <dgm:pt modelId="{38C19BA7-6DBC-4A5E-8489-0C8E34E0789C}" type="pres">
      <dgm:prSet presAssocID="{3BE8B3D4-1652-41E8-94D2-CE486AE70F45}" presName="Name65" presStyleLbl="parChTrans1D1" presStyleIdx="145" presStyleCnt="226"/>
      <dgm:spPr/>
    </dgm:pt>
    <dgm:pt modelId="{61D43235-4A39-4AC8-937A-25C83D0C53BA}" type="pres">
      <dgm:prSet presAssocID="{7FEF55C4-D857-4E30-B13A-42E223E87049}" presName="txAndLines2" presStyleCnt="0"/>
      <dgm:spPr/>
    </dgm:pt>
    <dgm:pt modelId="{DA87B723-9A74-4B3A-8F0B-D27D26454133}" type="pres">
      <dgm:prSet presAssocID="{7FEF55C4-D857-4E30-B13A-42E223E87049}" presName="anchor2" presStyleCnt="0"/>
      <dgm:spPr/>
    </dgm:pt>
    <dgm:pt modelId="{8E2F1671-52F6-45E1-A2D9-8A4E7018B569}" type="pres">
      <dgm:prSet presAssocID="{7FEF55C4-D857-4E30-B13A-42E223E87049}" presName="backup2" presStyleCnt="0"/>
      <dgm:spPr/>
    </dgm:pt>
    <dgm:pt modelId="{6B0313F2-D8B9-4979-A8CA-CF407D879479}" type="pres">
      <dgm:prSet presAssocID="{7FEF55C4-D857-4E30-B13A-42E223E87049}" presName="preLine2" presStyleLbl="parChTrans1D1" presStyleIdx="146" presStyleCnt="226"/>
      <dgm:spPr/>
    </dgm:pt>
    <dgm:pt modelId="{37A493F1-C17D-48CC-B65F-55AB9ED3DE64}" type="pres">
      <dgm:prSet presAssocID="{7FEF55C4-D857-4E30-B13A-42E223E87049}" presName="desTx2" presStyleLbl="revTx" presStyleIdx="0" presStyleCnt="0">
        <dgm:presLayoutVars>
          <dgm:bulletEnabled val="1"/>
        </dgm:presLayoutVars>
      </dgm:prSet>
      <dgm:spPr/>
    </dgm:pt>
    <dgm:pt modelId="{69FE835E-959A-40BA-A551-2AAC17DC2448}" type="pres">
      <dgm:prSet presAssocID="{7FEF55C4-D857-4E30-B13A-42E223E87049}" presName="postLine2" presStyleLbl="parChTrans1D1" presStyleIdx="147" presStyleCnt="226"/>
      <dgm:spPr/>
    </dgm:pt>
    <dgm:pt modelId="{A0AA9F9D-4641-437B-B3E0-32FC081C428E}" type="pres">
      <dgm:prSet presAssocID="{B57B327C-7FFD-4520-990F-3E1F7AB347CB}" presName="Name45" presStyleLbl="parChTrans1D1" presStyleIdx="148" presStyleCnt="226"/>
      <dgm:spPr/>
    </dgm:pt>
    <dgm:pt modelId="{21FA5B6C-BD3D-4609-89E2-1816426CFDF9}" type="pres">
      <dgm:prSet presAssocID="{B57B327C-7FFD-4520-990F-3E1F7AB347CB}" presName="Name65" presStyleLbl="parChTrans1D1" presStyleIdx="149" presStyleCnt="226"/>
      <dgm:spPr/>
    </dgm:pt>
    <dgm:pt modelId="{5EB33ACA-485C-483C-8218-5669078CDA9E}" type="pres">
      <dgm:prSet presAssocID="{D48D04C7-1E8F-474D-860C-7878B2F04AF7}" presName="txAndLines2" presStyleCnt="0"/>
      <dgm:spPr/>
    </dgm:pt>
    <dgm:pt modelId="{BC55ADFF-E66E-4BB9-848F-D44406430E93}" type="pres">
      <dgm:prSet presAssocID="{D48D04C7-1E8F-474D-860C-7878B2F04AF7}" presName="anchor2" presStyleCnt="0"/>
      <dgm:spPr/>
    </dgm:pt>
    <dgm:pt modelId="{CE6052B7-AA5B-487E-BD73-67F20606C992}" type="pres">
      <dgm:prSet presAssocID="{D48D04C7-1E8F-474D-860C-7878B2F04AF7}" presName="backup2" presStyleCnt="0"/>
      <dgm:spPr/>
    </dgm:pt>
    <dgm:pt modelId="{F51EF1A6-3E6E-43A3-910C-8760DAE8C8A8}" type="pres">
      <dgm:prSet presAssocID="{D48D04C7-1E8F-474D-860C-7878B2F04AF7}" presName="preLine2" presStyleLbl="parChTrans1D1" presStyleIdx="150" presStyleCnt="226"/>
      <dgm:spPr/>
    </dgm:pt>
    <dgm:pt modelId="{714789D2-B9E4-4787-B14D-5258B1A17AC1}" type="pres">
      <dgm:prSet presAssocID="{D48D04C7-1E8F-474D-860C-7878B2F04AF7}" presName="desTx2" presStyleLbl="revTx" presStyleIdx="0" presStyleCnt="0">
        <dgm:presLayoutVars>
          <dgm:bulletEnabled val="1"/>
        </dgm:presLayoutVars>
      </dgm:prSet>
      <dgm:spPr/>
    </dgm:pt>
    <dgm:pt modelId="{85782311-6E56-4D2B-B116-A5B046AA33AE}" type="pres">
      <dgm:prSet presAssocID="{D48D04C7-1E8F-474D-860C-7878B2F04AF7}" presName="postLine2" presStyleLbl="parChTrans1D1" presStyleIdx="151" presStyleCnt="226"/>
      <dgm:spPr/>
    </dgm:pt>
    <dgm:pt modelId="{68E48C44-8421-4B47-9B82-BD1AB58792A2}" type="pres">
      <dgm:prSet presAssocID="{3E9CD349-4ABC-44E5-B261-A886F20A205E}" presName="Name45" presStyleLbl="parChTrans1D1" presStyleIdx="152" presStyleCnt="226"/>
      <dgm:spPr/>
    </dgm:pt>
    <dgm:pt modelId="{DA7E92F7-50C8-45DD-B507-4CEF49595E7C}" type="pres">
      <dgm:prSet presAssocID="{3E9CD349-4ABC-44E5-B261-A886F20A205E}" presName="Name65" presStyleLbl="parChTrans1D1" presStyleIdx="153" presStyleCnt="226"/>
      <dgm:spPr/>
    </dgm:pt>
    <dgm:pt modelId="{030F32C8-1E30-4334-AECB-55BE7C3DB77F}" type="pres">
      <dgm:prSet presAssocID="{124D71EF-1890-4B20-8144-9786416977BA}" presName="txAndLines2" presStyleCnt="0"/>
      <dgm:spPr/>
    </dgm:pt>
    <dgm:pt modelId="{78CC068C-BE16-478C-9965-A8D9A7143788}" type="pres">
      <dgm:prSet presAssocID="{124D71EF-1890-4B20-8144-9786416977BA}" presName="anchor2" presStyleCnt="0"/>
      <dgm:spPr/>
    </dgm:pt>
    <dgm:pt modelId="{6893DB47-B800-458C-AF6C-90DEF993ECD2}" type="pres">
      <dgm:prSet presAssocID="{124D71EF-1890-4B20-8144-9786416977BA}" presName="backup2" presStyleCnt="0"/>
      <dgm:spPr/>
    </dgm:pt>
    <dgm:pt modelId="{28BCC0FC-B168-4B59-831F-B0CED43BD59D}" type="pres">
      <dgm:prSet presAssocID="{124D71EF-1890-4B20-8144-9786416977BA}" presName="preLine2" presStyleLbl="parChTrans1D1" presStyleIdx="154" presStyleCnt="226"/>
      <dgm:spPr/>
    </dgm:pt>
    <dgm:pt modelId="{3CC71BB9-B0C9-4297-94D1-F1660B5DCB67}" type="pres">
      <dgm:prSet presAssocID="{124D71EF-1890-4B20-8144-9786416977BA}" presName="desTx2" presStyleLbl="revTx" presStyleIdx="0" presStyleCnt="0">
        <dgm:presLayoutVars>
          <dgm:bulletEnabled val="1"/>
        </dgm:presLayoutVars>
      </dgm:prSet>
      <dgm:spPr/>
    </dgm:pt>
    <dgm:pt modelId="{EB8DFE61-50B0-4941-999C-F6D0CEEC98E5}" type="pres">
      <dgm:prSet presAssocID="{124D71EF-1890-4B20-8144-9786416977BA}" presName="postLine2" presStyleLbl="parChTrans1D1" presStyleIdx="155" presStyleCnt="226"/>
      <dgm:spPr/>
    </dgm:pt>
    <dgm:pt modelId="{868A9B81-5603-4867-80F5-6AA3CB3DA702}" type="pres">
      <dgm:prSet presAssocID="{F78838CA-03C6-4B56-A9EA-5DD1686C8EAC}" presName="Name45" presStyleLbl="parChTrans1D1" presStyleIdx="156" presStyleCnt="226"/>
      <dgm:spPr/>
    </dgm:pt>
    <dgm:pt modelId="{8C9D3083-74BF-4924-AC38-62FF6ECE7A57}" type="pres">
      <dgm:prSet presAssocID="{F78838CA-03C6-4B56-A9EA-5DD1686C8EAC}" presName="Name65" presStyleLbl="parChTrans1D1" presStyleIdx="157" presStyleCnt="226"/>
      <dgm:spPr/>
    </dgm:pt>
    <dgm:pt modelId="{03CCA411-C49A-492B-A375-7344D31B0482}" type="pres">
      <dgm:prSet presAssocID="{7590270C-96F2-4BB3-BC8F-B16D3FD94F96}" presName="txAndLines2" presStyleCnt="0"/>
      <dgm:spPr/>
    </dgm:pt>
    <dgm:pt modelId="{2E650C65-5350-48BC-81E8-F8C94080FE76}" type="pres">
      <dgm:prSet presAssocID="{7590270C-96F2-4BB3-BC8F-B16D3FD94F96}" presName="anchor2" presStyleCnt="0"/>
      <dgm:spPr/>
    </dgm:pt>
    <dgm:pt modelId="{8E3BC27D-87EE-4716-B822-1A26246AF3FC}" type="pres">
      <dgm:prSet presAssocID="{7590270C-96F2-4BB3-BC8F-B16D3FD94F96}" presName="backup2" presStyleCnt="0"/>
      <dgm:spPr/>
    </dgm:pt>
    <dgm:pt modelId="{4706E6B7-CF15-49C9-9B84-10419488D51F}" type="pres">
      <dgm:prSet presAssocID="{7590270C-96F2-4BB3-BC8F-B16D3FD94F96}" presName="preLine2" presStyleLbl="parChTrans1D1" presStyleIdx="158" presStyleCnt="226"/>
      <dgm:spPr/>
    </dgm:pt>
    <dgm:pt modelId="{2646FB80-5482-41EA-991C-700E1BEAE988}" type="pres">
      <dgm:prSet presAssocID="{7590270C-96F2-4BB3-BC8F-B16D3FD94F96}" presName="desTx2" presStyleLbl="revTx" presStyleIdx="0" presStyleCnt="0">
        <dgm:presLayoutVars>
          <dgm:bulletEnabled val="1"/>
        </dgm:presLayoutVars>
      </dgm:prSet>
      <dgm:spPr/>
    </dgm:pt>
    <dgm:pt modelId="{E1ACFC3B-55C9-424A-BF73-F493778566B6}" type="pres">
      <dgm:prSet presAssocID="{7590270C-96F2-4BB3-BC8F-B16D3FD94F96}" presName="postLine2" presStyleLbl="parChTrans1D1" presStyleIdx="159" presStyleCnt="226"/>
      <dgm:spPr/>
    </dgm:pt>
    <dgm:pt modelId="{04859A99-2A03-41EE-AFD6-F7AC5BC37879}" type="pres">
      <dgm:prSet presAssocID="{D012DA67-4839-4EBC-923C-C5D5E2B03FBB}" presName="Name45" presStyleLbl="parChTrans1D1" presStyleIdx="160" presStyleCnt="226"/>
      <dgm:spPr/>
    </dgm:pt>
    <dgm:pt modelId="{70FD36A8-9B76-4FA9-93B7-51A1E58A2E39}" type="pres">
      <dgm:prSet presAssocID="{D012DA67-4839-4EBC-923C-C5D5E2B03FBB}" presName="Name65" presStyleLbl="parChTrans1D1" presStyleIdx="161" presStyleCnt="226"/>
      <dgm:spPr/>
    </dgm:pt>
    <dgm:pt modelId="{597216AA-BCF2-4B5F-BEF2-B190CBCA9AD4}" type="pres">
      <dgm:prSet presAssocID="{1C9B8ACF-6C3E-4CA5-A077-34F00D9B846D}" presName="txAndLines2" presStyleCnt="0"/>
      <dgm:spPr/>
    </dgm:pt>
    <dgm:pt modelId="{AF7D8DC9-2AF5-4EF4-99DF-B35292E6F4D5}" type="pres">
      <dgm:prSet presAssocID="{1C9B8ACF-6C3E-4CA5-A077-34F00D9B846D}" presName="anchor2" presStyleCnt="0"/>
      <dgm:spPr/>
    </dgm:pt>
    <dgm:pt modelId="{86ADD8A5-B74E-4156-98ED-B9BC04903DC9}" type="pres">
      <dgm:prSet presAssocID="{1C9B8ACF-6C3E-4CA5-A077-34F00D9B846D}" presName="backup2" presStyleCnt="0"/>
      <dgm:spPr/>
    </dgm:pt>
    <dgm:pt modelId="{8588FAE1-E2E5-426C-A1F5-AFCF99A0C07F}" type="pres">
      <dgm:prSet presAssocID="{1C9B8ACF-6C3E-4CA5-A077-34F00D9B846D}" presName="preLine2" presStyleLbl="parChTrans1D1" presStyleIdx="162" presStyleCnt="226"/>
      <dgm:spPr/>
    </dgm:pt>
    <dgm:pt modelId="{1A320285-F1F0-4098-B378-F46F92806B36}" type="pres">
      <dgm:prSet presAssocID="{1C9B8ACF-6C3E-4CA5-A077-34F00D9B846D}" presName="desTx2" presStyleLbl="revTx" presStyleIdx="0" presStyleCnt="0">
        <dgm:presLayoutVars>
          <dgm:bulletEnabled val="1"/>
        </dgm:presLayoutVars>
      </dgm:prSet>
      <dgm:spPr/>
    </dgm:pt>
    <dgm:pt modelId="{611C0E2B-DEBC-4593-BE0A-0C7C2A9C13B8}" type="pres">
      <dgm:prSet presAssocID="{1C9B8ACF-6C3E-4CA5-A077-34F00D9B846D}" presName="postLine2" presStyleLbl="parChTrans1D1" presStyleIdx="163" presStyleCnt="226"/>
      <dgm:spPr/>
    </dgm:pt>
    <dgm:pt modelId="{C6153944-FF65-4147-8A02-4E2D5EE431B6}" type="pres">
      <dgm:prSet presAssocID="{7DDD517E-ED2C-4D32-B46A-B3E33851D950}" presName="Name45" presStyleLbl="parChTrans1D1" presStyleIdx="164" presStyleCnt="226"/>
      <dgm:spPr/>
    </dgm:pt>
    <dgm:pt modelId="{B5ECFECE-EDC3-428C-9D48-CBB5946BC18C}" type="pres">
      <dgm:prSet presAssocID="{7DDD517E-ED2C-4D32-B46A-B3E33851D950}" presName="Name65" presStyleLbl="parChTrans1D1" presStyleIdx="165" presStyleCnt="226"/>
      <dgm:spPr/>
    </dgm:pt>
    <dgm:pt modelId="{8450E050-6895-403B-84B1-D7383CF6096C}" type="pres">
      <dgm:prSet presAssocID="{53609979-2DA1-4B09-9786-C7A908B3D825}" presName="txAndLines2" presStyleCnt="0"/>
      <dgm:spPr/>
    </dgm:pt>
    <dgm:pt modelId="{672A9A72-95AC-424B-95CE-56177196F657}" type="pres">
      <dgm:prSet presAssocID="{53609979-2DA1-4B09-9786-C7A908B3D825}" presName="anchor2" presStyleCnt="0"/>
      <dgm:spPr/>
    </dgm:pt>
    <dgm:pt modelId="{AA84DD66-BFDB-4E93-9C25-F778420FC73E}" type="pres">
      <dgm:prSet presAssocID="{53609979-2DA1-4B09-9786-C7A908B3D825}" presName="backup2" presStyleCnt="0"/>
      <dgm:spPr/>
    </dgm:pt>
    <dgm:pt modelId="{90A7CAAB-D710-4554-8072-9AE3209D53ED}" type="pres">
      <dgm:prSet presAssocID="{53609979-2DA1-4B09-9786-C7A908B3D825}" presName="preLine2" presStyleLbl="parChTrans1D1" presStyleIdx="166" presStyleCnt="226"/>
      <dgm:spPr/>
    </dgm:pt>
    <dgm:pt modelId="{A431DF09-13B3-4AE8-A20D-802BED35180E}" type="pres">
      <dgm:prSet presAssocID="{53609979-2DA1-4B09-9786-C7A908B3D825}" presName="desTx2" presStyleLbl="revTx" presStyleIdx="0" presStyleCnt="0">
        <dgm:presLayoutVars>
          <dgm:bulletEnabled val="1"/>
        </dgm:presLayoutVars>
      </dgm:prSet>
      <dgm:spPr/>
    </dgm:pt>
    <dgm:pt modelId="{EDCC2F5A-56AD-40A8-9FED-57B756EDA269}" type="pres">
      <dgm:prSet presAssocID="{53609979-2DA1-4B09-9786-C7A908B3D825}" presName="postLine2" presStyleLbl="parChTrans1D1" presStyleIdx="167" presStyleCnt="226"/>
      <dgm:spPr/>
    </dgm:pt>
    <dgm:pt modelId="{030F426D-E997-448F-BBE3-ADE8F0114175}" type="pres">
      <dgm:prSet presAssocID="{3528B26E-9ACE-4585-AFC7-812400523FCE}" presName="Name45" presStyleLbl="parChTrans1D1" presStyleIdx="168" presStyleCnt="226"/>
      <dgm:spPr/>
    </dgm:pt>
    <dgm:pt modelId="{81A2ECC7-F1BA-4191-A4AA-C7F6CB03572A}" type="pres">
      <dgm:prSet presAssocID="{3528B26E-9ACE-4585-AFC7-812400523FCE}" presName="Name65" presStyleLbl="parChTrans1D1" presStyleIdx="169" presStyleCnt="226"/>
      <dgm:spPr/>
    </dgm:pt>
    <dgm:pt modelId="{8A1375DB-8C2B-46A6-9313-7A7B28231AD1}" type="pres">
      <dgm:prSet presAssocID="{48FC338D-A476-4C10-A799-613B23248D88}" presName="txAndLines2" presStyleCnt="0"/>
      <dgm:spPr/>
    </dgm:pt>
    <dgm:pt modelId="{FFFB4ABF-FA3A-43BB-80F5-5695C354C97F}" type="pres">
      <dgm:prSet presAssocID="{48FC338D-A476-4C10-A799-613B23248D88}" presName="anchor2" presStyleCnt="0"/>
      <dgm:spPr/>
    </dgm:pt>
    <dgm:pt modelId="{4365C8CC-EB0A-4081-A33B-87361CAFF6BD}" type="pres">
      <dgm:prSet presAssocID="{48FC338D-A476-4C10-A799-613B23248D88}" presName="backup2" presStyleCnt="0"/>
      <dgm:spPr/>
    </dgm:pt>
    <dgm:pt modelId="{E445924E-B9A3-4723-8999-151E80C6D2B1}" type="pres">
      <dgm:prSet presAssocID="{48FC338D-A476-4C10-A799-613B23248D88}" presName="preLine2" presStyleLbl="parChTrans1D1" presStyleIdx="170" presStyleCnt="226"/>
      <dgm:spPr/>
    </dgm:pt>
    <dgm:pt modelId="{A953DB99-6F27-4824-BEDD-8BAD67DE9BD1}" type="pres">
      <dgm:prSet presAssocID="{48FC338D-A476-4C10-A799-613B23248D88}" presName="desTx2" presStyleLbl="revTx" presStyleIdx="0" presStyleCnt="0">
        <dgm:presLayoutVars>
          <dgm:bulletEnabled val="1"/>
        </dgm:presLayoutVars>
      </dgm:prSet>
      <dgm:spPr/>
    </dgm:pt>
    <dgm:pt modelId="{7681B7C7-7F73-40EF-89F8-D4F0E13FC8CA}" type="pres">
      <dgm:prSet presAssocID="{48FC338D-A476-4C10-A799-613B23248D88}" presName="postLine2" presStyleLbl="parChTrans1D1" presStyleIdx="171" presStyleCnt="226"/>
      <dgm:spPr/>
    </dgm:pt>
    <dgm:pt modelId="{418A0874-4FDD-4033-BB98-25DAB09FE0FA}" type="pres">
      <dgm:prSet presAssocID="{9201D496-EF29-4D2E-B73F-635DE17DD6E8}" presName="Name45" presStyleLbl="parChTrans1D1" presStyleIdx="172" presStyleCnt="226"/>
      <dgm:spPr/>
    </dgm:pt>
    <dgm:pt modelId="{212BD1A7-F79A-4E20-B15B-FBAF9C9238EE}" type="pres">
      <dgm:prSet presAssocID="{9201D496-EF29-4D2E-B73F-635DE17DD6E8}" presName="Name65" presStyleLbl="parChTrans1D1" presStyleIdx="173" presStyleCnt="226"/>
      <dgm:spPr/>
    </dgm:pt>
    <dgm:pt modelId="{B341C53C-9D7F-4A3B-9466-B8725F0CEA98}" type="pres">
      <dgm:prSet presAssocID="{5A1F7174-7B30-4AE6-AD8C-5245CD333DED}" presName="txAndLines2" presStyleCnt="0"/>
      <dgm:spPr/>
    </dgm:pt>
    <dgm:pt modelId="{BBBBB338-AF18-4AFF-8DE3-52C93A61FA47}" type="pres">
      <dgm:prSet presAssocID="{5A1F7174-7B30-4AE6-AD8C-5245CD333DED}" presName="anchor2" presStyleCnt="0"/>
      <dgm:spPr/>
    </dgm:pt>
    <dgm:pt modelId="{E478613E-2DA2-4AB2-8C89-CD8942581173}" type="pres">
      <dgm:prSet presAssocID="{5A1F7174-7B30-4AE6-AD8C-5245CD333DED}" presName="backup2" presStyleCnt="0"/>
      <dgm:spPr/>
    </dgm:pt>
    <dgm:pt modelId="{5CFF5043-1395-43D2-8402-AEFA15C1A4DA}" type="pres">
      <dgm:prSet presAssocID="{5A1F7174-7B30-4AE6-AD8C-5245CD333DED}" presName="preLine2" presStyleLbl="parChTrans1D1" presStyleIdx="174" presStyleCnt="226"/>
      <dgm:spPr/>
    </dgm:pt>
    <dgm:pt modelId="{8EFFBA7C-B9F8-4FEF-9991-5B78258EC781}" type="pres">
      <dgm:prSet presAssocID="{5A1F7174-7B30-4AE6-AD8C-5245CD333DED}" presName="desTx2" presStyleLbl="revTx" presStyleIdx="0" presStyleCnt="0">
        <dgm:presLayoutVars>
          <dgm:bulletEnabled val="1"/>
        </dgm:presLayoutVars>
      </dgm:prSet>
      <dgm:spPr/>
    </dgm:pt>
    <dgm:pt modelId="{45AAD990-21EB-4857-9086-49DF2C9FCA6F}" type="pres">
      <dgm:prSet presAssocID="{5A1F7174-7B30-4AE6-AD8C-5245CD333DED}" presName="postLine2" presStyleLbl="parChTrans1D1" presStyleIdx="175" presStyleCnt="226"/>
      <dgm:spPr/>
    </dgm:pt>
    <dgm:pt modelId="{84C25D04-FC6D-4D35-B2C4-63D9B254A89B}" type="pres">
      <dgm:prSet presAssocID="{771AF7B4-C8D8-4616-A2B7-5F9CAC081CB7}" presName="spPost2" presStyleCnt="0"/>
      <dgm:spPr/>
    </dgm:pt>
    <dgm:pt modelId="{DA8FD566-C190-410E-B7DB-16B5A2038472}" type="pres">
      <dgm:prSet presAssocID="{81AD932E-1EFE-4B07-AAAB-49C273B1FEF2}" presName="parTx3" presStyleLbl="node1" presStyleIdx="2" presStyleCnt="4" custLinFactNeighborX="3427" custLinFactNeighborY="617"/>
      <dgm:spPr/>
    </dgm:pt>
    <dgm:pt modelId="{95E0DB6D-C690-4073-AC4C-559BC50E3AB6}" type="pres">
      <dgm:prSet presAssocID="{81AD932E-1EFE-4B07-AAAB-49C273B1FEF2}" presName="spPre3" presStyleCnt="0"/>
      <dgm:spPr/>
    </dgm:pt>
    <dgm:pt modelId="{9F7F3BFD-B84A-4CE3-A079-6CB01BA418C9}" type="pres">
      <dgm:prSet presAssocID="{81AD932E-1EFE-4B07-AAAB-49C273B1FEF2}" presName="chLin3" presStyleCnt="0"/>
      <dgm:spPr/>
    </dgm:pt>
    <dgm:pt modelId="{AEC61823-E0BA-4FA9-974C-8AC0397A0816}" type="pres">
      <dgm:prSet presAssocID="{DC1D3EC7-66D3-4244-8BA8-6764E9E88F06}" presName="Name79" presStyleLbl="parChTrans1D1" presStyleIdx="176" presStyleCnt="226"/>
      <dgm:spPr/>
    </dgm:pt>
    <dgm:pt modelId="{968AB225-ADA9-4A0D-B4EC-DB22E498F88C}" type="pres">
      <dgm:prSet presAssocID="{DC1D3EC7-66D3-4244-8BA8-6764E9E88F06}" presName="Name99" presStyleLbl="parChTrans1D1" presStyleIdx="177" presStyleCnt="226"/>
      <dgm:spPr/>
    </dgm:pt>
    <dgm:pt modelId="{9C07E5F5-FA24-402F-A770-3DC8AEE21CCA}" type="pres">
      <dgm:prSet presAssocID="{FEB4B16B-9D24-4077-AF3F-DD7E23E73A3F}" presName="txAndLines3" presStyleCnt="0"/>
      <dgm:spPr/>
    </dgm:pt>
    <dgm:pt modelId="{0659400D-6E9F-4928-AD58-A0F904E3BE5E}" type="pres">
      <dgm:prSet presAssocID="{FEB4B16B-9D24-4077-AF3F-DD7E23E73A3F}" presName="anchor3" presStyleCnt="0"/>
      <dgm:spPr/>
    </dgm:pt>
    <dgm:pt modelId="{2F8954F1-09F9-49BD-A39A-761313C44BAD}" type="pres">
      <dgm:prSet presAssocID="{FEB4B16B-9D24-4077-AF3F-DD7E23E73A3F}" presName="backup3" presStyleCnt="0"/>
      <dgm:spPr/>
    </dgm:pt>
    <dgm:pt modelId="{B159D6B2-D40E-4F41-BE3B-D38BFAE06849}" type="pres">
      <dgm:prSet presAssocID="{FEB4B16B-9D24-4077-AF3F-DD7E23E73A3F}" presName="preLine3" presStyleLbl="parChTrans1D1" presStyleIdx="178" presStyleCnt="226"/>
      <dgm:spPr/>
    </dgm:pt>
    <dgm:pt modelId="{27AF215D-A3BF-43FC-AA48-1FF1E090E1EF}" type="pres">
      <dgm:prSet presAssocID="{FEB4B16B-9D24-4077-AF3F-DD7E23E73A3F}" presName="desTx3" presStyleLbl="revTx" presStyleIdx="0" presStyleCnt="0">
        <dgm:presLayoutVars>
          <dgm:bulletEnabled val="1"/>
        </dgm:presLayoutVars>
      </dgm:prSet>
      <dgm:spPr/>
    </dgm:pt>
    <dgm:pt modelId="{D407C613-8224-460E-925F-E4D2EDFAEFD1}" type="pres">
      <dgm:prSet presAssocID="{FEB4B16B-9D24-4077-AF3F-DD7E23E73A3F}" presName="postLine3" presStyleLbl="parChTrans1D1" presStyleIdx="179" presStyleCnt="226"/>
      <dgm:spPr/>
    </dgm:pt>
    <dgm:pt modelId="{183053F8-ECA6-443C-9BAE-CA1E6BC1ADF4}" type="pres">
      <dgm:prSet presAssocID="{C76B272C-E73B-47C0-AB79-B4B58303C3EF}" presName="Name79" presStyleLbl="parChTrans1D1" presStyleIdx="180" presStyleCnt="226"/>
      <dgm:spPr/>
    </dgm:pt>
    <dgm:pt modelId="{51F1B5F3-8DA4-4730-B1D8-F2EF158C2C12}" type="pres">
      <dgm:prSet presAssocID="{C76B272C-E73B-47C0-AB79-B4B58303C3EF}" presName="Name99" presStyleLbl="parChTrans1D1" presStyleIdx="181" presStyleCnt="226"/>
      <dgm:spPr/>
    </dgm:pt>
    <dgm:pt modelId="{B459B90A-6E5A-41A7-87CA-107F8D7A73F0}" type="pres">
      <dgm:prSet presAssocID="{FFE21F60-2745-4019-A3D8-A7858D2C5D3F}" presName="txAndLines3" presStyleCnt="0"/>
      <dgm:spPr/>
    </dgm:pt>
    <dgm:pt modelId="{522306FB-2F1D-4492-96D2-4D63D8AB051B}" type="pres">
      <dgm:prSet presAssocID="{FFE21F60-2745-4019-A3D8-A7858D2C5D3F}" presName="anchor3" presStyleCnt="0"/>
      <dgm:spPr/>
    </dgm:pt>
    <dgm:pt modelId="{59824A22-BD50-4606-858A-08BE12618C6E}" type="pres">
      <dgm:prSet presAssocID="{FFE21F60-2745-4019-A3D8-A7858D2C5D3F}" presName="backup3" presStyleCnt="0"/>
      <dgm:spPr/>
    </dgm:pt>
    <dgm:pt modelId="{408F2B1B-FE32-46F0-A179-89CB14C2BD01}" type="pres">
      <dgm:prSet presAssocID="{FFE21F60-2745-4019-A3D8-A7858D2C5D3F}" presName="preLine3" presStyleLbl="parChTrans1D1" presStyleIdx="182" presStyleCnt="226"/>
      <dgm:spPr/>
    </dgm:pt>
    <dgm:pt modelId="{FE3A7CA5-5C5B-4353-A281-AA50CB5463DE}" type="pres">
      <dgm:prSet presAssocID="{FFE21F60-2745-4019-A3D8-A7858D2C5D3F}" presName="desTx3" presStyleLbl="revTx" presStyleIdx="0" presStyleCnt="0">
        <dgm:presLayoutVars>
          <dgm:bulletEnabled val="1"/>
        </dgm:presLayoutVars>
      </dgm:prSet>
      <dgm:spPr/>
    </dgm:pt>
    <dgm:pt modelId="{DCC134EC-CC6B-42AE-A84F-65A96D6BCC6F}" type="pres">
      <dgm:prSet presAssocID="{FFE21F60-2745-4019-A3D8-A7858D2C5D3F}" presName="postLine3" presStyleLbl="parChTrans1D1" presStyleIdx="183" presStyleCnt="226"/>
      <dgm:spPr/>
    </dgm:pt>
    <dgm:pt modelId="{206672CB-CEC5-40D0-BBEA-182EC8BFA46D}" type="pres">
      <dgm:prSet presAssocID="{E41C4533-68C0-4899-8535-563338656BD0}" presName="Name79" presStyleLbl="parChTrans1D1" presStyleIdx="184" presStyleCnt="226"/>
      <dgm:spPr/>
    </dgm:pt>
    <dgm:pt modelId="{96A296FA-A2CC-4E57-BE08-83F82A43AC95}" type="pres">
      <dgm:prSet presAssocID="{E41C4533-68C0-4899-8535-563338656BD0}" presName="Name99" presStyleLbl="parChTrans1D1" presStyleIdx="185" presStyleCnt="226"/>
      <dgm:spPr/>
    </dgm:pt>
    <dgm:pt modelId="{3FBEBD5A-A507-4D62-82A8-4E36C2C6C795}" type="pres">
      <dgm:prSet presAssocID="{BC5A8ACA-8AA1-4E7A-944E-0D81BEC1F0B9}" presName="txAndLines3" presStyleCnt="0"/>
      <dgm:spPr/>
    </dgm:pt>
    <dgm:pt modelId="{43BD693F-6F08-43A3-8554-8C10ED17CAF2}" type="pres">
      <dgm:prSet presAssocID="{BC5A8ACA-8AA1-4E7A-944E-0D81BEC1F0B9}" presName="anchor3" presStyleCnt="0"/>
      <dgm:spPr/>
    </dgm:pt>
    <dgm:pt modelId="{2D84FFD3-F5AB-417B-B012-A5DC139ADEFF}" type="pres">
      <dgm:prSet presAssocID="{BC5A8ACA-8AA1-4E7A-944E-0D81BEC1F0B9}" presName="backup3" presStyleCnt="0"/>
      <dgm:spPr/>
    </dgm:pt>
    <dgm:pt modelId="{416251B3-BDFF-4DCC-AB8D-AE2DEDDF674C}" type="pres">
      <dgm:prSet presAssocID="{BC5A8ACA-8AA1-4E7A-944E-0D81BEC1F0B9}" presName="preLine3" presStyleLbl="parChTrans1D1" presStyleIdx="186" presStyleCnt="226"/>
      <dgm:spPr/>
    </dgm:pt>
    <dgm:pt modelId="{C4B685D8-9A68-4D57-9A00-00E6DFD2A60F}" type="pres">
      <dgm:prSet presAssocID="{BC5A8ACA-8AA1-4E7A-944E-0D81BEC1F0B9}" presName="desTx3" presStyleLbl="revTx" presStyleIdx="0" presStyleCnt="0">
        <dgm:presLayoutVars>
          <dgm:bulletEnabled val="1"/>
        </dgm:presLayoutVars>
      </dgm:prSet>
      <dgm:spPr/>
    </dgm:pt>
    <dgm:pt modelId="{3491390F-5FD4-427E-AEF3-82D463B91C4F}" type="pres">
      <dgm:prSet presAssocID="{BC5A8ACA-8AA1-4E7A-944E-0D81BEC1F0B9}" presName="postLine3" presStyleLbl="parChTrans1D1" presStyleIdx="187" presStyleCnt="226"/>
      <dgm:spPr/>
    </dgm:pt>
    <dgm:pt modelId="{20766DD2-1613-487F-9314-DC8CA7C8F87B}" type="pres">
      <dgm:prSet presAssocID="{F5B7A93F-CFAF-486F-BB78-8D96B645E270}" presName="Name79" presStyleLbl="parChTrans1D1" presStyleIdx="188" presStyleCnt="226"/>
      <dgm:spPr/>
    </dgm:pt>
    <dgm:pt modelId="{A738C7BF-42D6-4C9E-8AFC-BCC491231D46}" type="pres">
      <dgm:prSet presAssocID="{F5B7A93F-CFAF-486F-BB78-8D96B645E270}" presName="Name99" presStyleLbl="parChTrans1D1" presStyleIdx="189" presStyleCnt="226"/>
      <dgm:spPr/>
    </dgm:pt>
    <dgm:pt modelId="{22DA056E-498B-41F6-9E73-E184899530AF}" type="pres">
      <dgm:prSet presAssocID="{5980077B-6B40-4C24-A9E1-AF3B13F05253}" presName="txAndLines3" presStyleCnt="0"/>
      <dgm:spPr/>
    </dgm:pt>
    <dgm:pt modelId="{9BC3A7A1-9458-45D6-AECF-20D08BB19140}" type="pres">
      <dgm:prSet presAssocID="{5980077B-6B40-4C24-A9E1-AF3B13F05253}" presName="anchor3" presStyleCnt="0"/>
      <dgm:spPr/>
    </dgm:pt>
    <dgm:pt modelId="{72B5623D-272C-43F8-9B3B-BC28B150F439}" type="pres">
      <dgm:prSet presAssocID="{5980077B-6B40-4C24-A9E1-AF3B13F05253}" presName="backup3" presStyleCnt="0"/>
      <dgm:spPr/>
    </dgm:pt>
    <dgm:pt modelId="{90B1862D-4D1E-462A-9593-73B8A3FD5ABC}" type="pres">
      <dgm:prSet presAssocID="{5980077B-6B40-4C24-A9E1-AF3B13F05253}" presName="preLine3" presStyleLbl="parChTrans1D1" presStyleIdx="190" presStyleCnt="226"/>
      <dgm:spPr/>
    </dgm:pt>
    <dgm:pt modelId="{F7D25597-FDBB-4AFE-AAFE-FD21BDA13AD7}" type="pres">
      <dgm:prSet presAssocID="{5980077B-6B40-4C24-A9E1-AF3B13F05253}" presName="desTx3" presStyleLbl="revTx" presStyleIdx="0" presStyleCnt="0">
        <dgm:presLayoutVars>
          <dgm:bulletEnabled val="1"/>
        </dgm:presLayoutVars>
      </dgm:prSet>
      <dgm:spPr/>
    </dgm:pt>
    <dgm:pt modelId="{ABF5DCEC-491E-4796-80D6-8E2E246291B4}" type="pres">
      <dgm:prSet presAssocID="{5980077B-6B40-4C24-A9E1-AF3B13F05253}" presName="postLine3" presStyleLbl="parChTrans1D1" presStyleIdx="191" presStyleCnt="226"/>
      <dgm:spPr/>
    </dgm:pt>
    <dgm:pt modelId="{FBE0F03F-E8B0-4719-B797-F4FA61E56C26}" type="pres">
      <dgm:prSet presAssocID="{2AC00AD4-AFA2-4886-8178-D47CAD5B20FE}" presName="Name79" presStyleLbl="parChTrans1D1" presStyleIdx="192" presStyleCnt="226"/>
      <dgm:spPr/>
    </dgm:pt>
    <dgm:pt modelId="{ACD0AEC2-9DD9-4064-93D3-5AEB32755FC5}" type="pres">
      <dgm:prSet presAssocID="{2AC00AD4-AFA2-4886-8178-D47CAD5B20FE}" presName="Name99" presStyleLbl="parChTrans1D1" presStyleIdx="193" presStyleCnt="226"/>
      <dgm:spPr/>
    </dgm:pt>
    <dgm:pt modelId="{336BE79C-9976-4EEA-9FCD-E80B64C13631}" type="pres">
      <dgm:prSet presAssocID="{5F1C90BD-CFED-48AA-93D1-764B5464A558}" presName="txAndLines3" presStyleCnt="0"/>
      <dgm:spPr/>
    </dgm:pt>
    <dgm:pt modelId="{1E3694EA-C671-4FB5-8A65-11813871269B}" type="pres">
      <dgm:prSet presAssocID="{5F1C90BD-CFED-48AA-93D1-764B5464A558}" presName="anchor3" presStyleCnt="0"/>
      <dgm:spPr/>
    </dgm:pt>
    <dgm:pt modelId="{BE058463-08AD-46A1-A953-05E142225D4A}" type="pres">
      <dgm:prSet presAssocID="{5F1C90BD-CFED-48AA-93D1-764B5464A558}" presName="backup3" presStyleCnt="0"/>
      <dgm:spPr/>
    </dgm:pt>
    <dgm:pt modelId="{83A34351-3A29-4276-AF30-3F30765E951F}" type="pres">
      <dgm:prSet presAssocID="{5F1C90BD-CFED-48AA-93D1-764B5464A558}" presName="preLine3" presStyleLbl="parChTrans1D1" presStyleIdx="194" presStyleCnt="226"/>
      <dgm:spPr/>
    </dgm:pt>
    <dgm:pt modelId="{DA7FB760-CBBB-4DAF-A604-68D9C78CF80A}" type="pres">
      <dgm:prSet presAssocID="{5F1C90BD-CFED-48AA-93D1-764B5464A558}" presName="desTx3" presStyleLbl="revTx" presStyleIdx="0" presStyleCnt="0">
        <dgm:presLayoutVars>
          <dgm:bulletEnabled val="1"/>
        </dgm:presLayoutVars>
      </dgm:prSet>
      <dgm:spPr/>
    </dgm:pt>
    <dgm:pt modelId="{D342BEDC-F695-411A-B100-4F0AC3122525}" type="pres">
      <dgm:prSet presAssocID="{5F1C90BD-CFED-48AA-93D1-764B5464A558}" presName="postLine3" presStyleLbl="parChTrans1D1" presStyleIdx="195" presStyleCnt="226"/>
      <dgm:spPr/>
    </dgm:pt>
    <dgm:pt modelId="{D17229D3-F77A-4C91-969A-9E51F20A98D0}" type="pres">
      <dgm:prSet presAssocID="{96C2930F-973F-4429-AC95-72C161F4F931}" presName="Name79" presStyleLbl="parChTrans1D1" presStyleIdx="196" presStyleCnt="226"/>
      <dgm:spPr/>
    </dgm:pt>
    <dgm:pt modelId="{923EAF04-CA47-49DA-9041-1DC128D494E6}" type="pres">
      <dgm:prSet presAssocID="{96C2930F-973F-4429-AC95-72C161F4F931}" presName="Name99" presStyleLbl="parChTrans1D1" presStyleIdx="197" presStyleCnt="226"/>
      <dgm:spPr/>
    </dgm:pt>
    <dgm:pt modelId="{4A9BCC8E-8FD0-4B2C-9A53-031B3F2D2896}" type="pres">
      <dgm:prSet presAssocID="{AB56B749-5EC8-4C6D-9DAF-2A50A2E2A075}" presName="txAndLines3" presStyleCnt="0"/>
      <dgm:spPr/>
    </dgm:pt>
    <dgm:pt modelId="{BC664771-F75E-41A8-8454-C925C6E93E5F}" type="pres">
      <dgm:prSet presAssocID="{AB56B749-5EC8-4C6D-9DAF-2A50A2E2A075}" presName="anchor3" presStyleCnt="0"/>
      <dgm:spPr/>
    </dgm:pt>
    <dgm:pt modelId="{9E09EB23-3A5E-4F4A-9DBC-A5F5068B67DC}" type="pres">
      <dgm:prSet presAssocID="{AB56B749-5EC8-4C6D-9DAF-2A50A2E2A075}" presName="backup3" presStyleCnt="0"/>
      <dgm:spPr/>
    </dgm:pt>
    <dgm:pt modelId="{4552AA4A-58CE-4ADF-9D16-9851A274C22F}" type="pres">
      <dgm:prSet presAssocID="{AB56B749-5EC8-4C6D-9DAF-2A50A2E2A075}" presName="preLine3" presStyleLbl="parChTrans1D1" presStyleIdx="198" presStyleCnt="226"/>
      <dgm:spPr/>
    </dgm:pt>
    <dgm:pt modelId="{B39A57B6-331C-4EC5-B637-A6FD3A59D7B8}" type="pres">
      <dgm:prSet presAssocID="{AB56B749-5EC8-4C6D-9DAF-2A50A2E2A075}" presName="desTx3" presStyleLbl="revTx" presStyleIdx="0" presStyleCnt="0">
        <dgm:presLayoutVars>
          <dgm:bulletEnabled val="1"/>
        </dgm:presLayoutVars>
      </dgm:prSet>
      <dgm:spPr/>
    </dgm:pt>
    <dgm:pt modelId="{8F5C5145-0B78-4DA7-B6F7-29A8F939C8CF}" type="pres">
      <dgm:prSet presAssocID="{AB56B749-5EC8-4C6D-9DAF-2A50A2E2A075}" presName="postLine3" presStyleLbl="parChTrans1D1" presStyleIdx="199" presStyleCnt="226"/>
      <dgm:spPr/>
    </dgm:pt>
    <dgm:pt modelId="{9809E6E3-EABF-4E24-8979-7ABC7A65EBFF}" type="pres">
      <dgm:prSet presAssocID="{B02A0E7B-C95C-42AD-9EB0-2251B989AD66}" presName="Name79" presStyleLbl="parChTrans1D1" presStyleIdx="200" presStyleCnt="226"/>
      <dgm:spPr/>
    </dgm:pt>
    <dgm:pt modelId="{18367EA7-63B3-4680-9DAD-14BCCB347C40}" type="pres">
      <dgm:prSet presAssocID="{B02A0E7B-C95C-42AD-9EB0-2251B989AD66}" presName="Name99" presStyleLbl="parChTrans1D1" presStyleIdx="201" presStyleCnt="226"/>
      <dgm:spPr/>
    </dgm:pt>
    <dgm:pt modelId="{73279E31-697B-4F89-A9D5-72F480687990}" type="pres">
      <dgm:prSet presAssocID="{8DB5E133-324C-4383-8123-3AAD0DECBDCF}" presName="txAndLines3" presStyleCnt="0"/>
      <dgm:spPr/>
    </dgm:pt>
    <dgm:pt modelId="{912E2BEB-93EB-4502-91E3-05EA49CF2EED}" type="pres">
      <dgm:prSet presAssocID="{8DB5E133-324C-4383-8123-3AAD0DECBDCF}" presName="anchor3" presStyleCnt="0"/>
      <dgm:spPr/>
    </dgm:pt>
    <dgm:pt modelId="{70658DA1-C900-4D27-B7E5-0A78A0D35425}" type="pres">
      <dgm:prSet presAssocID="{8DB5E133-324C-4383-8123-3AAD0DECBDCF}" presName="backup3" presStyleCnt="0"/>
      <dgm:spPr/>
    </dgm:pt>
    <dgm:pt modelId="{81DB5CB5-C6CC-4F9C-92B6-04AF03BE0BE5}" type="pres">
      <dgm:prSet presAssocID="{8DB5E133-324C-4383-8123-3AAD0DECBDCF}" presName="preLine3" presStyleLbl="parChTrans1D1" presStyleIdx="202" presStyleCnt="226"/>
      <dgm:spPr/>
    </dgm:pt>
    <dgm:pt modelId="{00E3A2FA-A500-4243-8116-6782927EDEA2}" type="pres">
      <dgm:prSet presAssocID="{8DB5E133-324C-4383-8123-3AAD0DECBDCF}" presName="desTx3" presStyleLbl="revTx" presStyleIdx="0" presStyleCnt="0">
        <dgm:presLayoutVars>
          <dgm:bulletEnabled val="1"/>
        </dgm:presLayoutVars>
      </dgm:prSet>
      <dgm:spPr/>
    </dgm:pt>
    <dgm:pt modelId="{578413D8-B0F4-4D29-9081-95CCBD94B1AA}" type="pres">
      <dgm:prSet presAssocID="{8DB5E133-324C-4383-8123-3AAD0DECBDCF}" presName="postLine3" presStyleLbl="parChTrans1D1" presStyleIdx="203" presStyleCnt="226"/>
      <dgm:spPr/>
    </dgm:pt>
    <dgm:pt modelId="{FB644E33-A1BD-4BDC-BFD8-7B30376A7390}" type="pres">
      <dgm:prSet presAssocID="{699BF82E-B111-4ACB-92AB-ED955BAEF79B}" presName="Name79" presStyleLbl="parChTrans1D1" presStyleIdx="204" presStyleCnt="226"/>
      <dgm:spPr/>
    </dgm:pt>
    <dgm:pt modelId="{62937B02-3182-47EC-A62B-C07B24051143}" type="pres">
      <dgm:prSet presAssocID="{699BF82E-B111-4ACB-92AB-ED955BAEF79B}" presName="Name99" presStyleLbl="parChTrans1D1" presStyleIdx="205" presStyleCnt="226"/>
      <dgm:spPr/>
    </dgm:pt>
    <dgm:pt modelId="{A5DC755E-78CF-464B-954B-736E03AEDDE2}" type="pres">
      <dgm:prSet presAssocID="{D00BDA0F-5677-43D2-9C73-92A9B5451503}" presName="txAndLines3" presStyleCnt="0"/>
      <dgm:spPr/>
    </dgm:pt>
    <dgm:pt modelId="{32CDF290-81E2-47A9-BA2A-5794BA3B455C}" type="pres">
      <dgm:prSet presAssocID="{D00BDA0F-5677-43D2-9C73-92A9B5451503}" presName="anchor3" presStyleCnt="0"/>
      <dgm:spPr/>
    </dgm:pt>
    <dgm:pt modelId="{88329071-A0FC-4317-8616-D38FA8CC9E59}" type="pres">
      <dgm:prSet presAssocID="{D00BDA0F-5677-43D2-9C73-92A9B5451503}" presName="backup3" presStyleCnt="0"/>
      <dgm:spPr/>
    </dgm:pt>
    <dgm:pt modelId="{7D17ECC9-7112-4BFF-9D8E-B64B78ED766C}" type="pres">
      <dgm:prSet presAssocID="{D00BDA0F-5677-43D2-9C73-92A9B5451503}" presName="preLine3" presStyleLbl="parChTrans1D1" presStyleIdx="206" presStyleCnt="226"/>
      <dgm:spPr/>
    </dgm:pt>
    <dgm:pt modelId="{AEC525D5-FDF5-4EAE-BB2E-5E59CEF8CD6E}" type="pres">
      <dgm:prSet presAssocID="{D00BDA0F-5677-43D2-9C73-92A9B5451503}" presName="desTx3" presStyleLbl="revTx" presStyleIdx="0" presStyleCnt="0">
        <dgm:presLayoutVars>
          <dgm:bulletEnabled val="1"/>
        </dgm:presLayoutVars>
      </dgm:prSet>
      <dgm:spPr/>
    </dgm:pt>
    <dgm:pt modelId="{CDC88A83-A023-43E0-B45E-7B0520E12749}" type="pres">
      <dgm:prSet presAssocID="{D00BDA0F-5677-43D2-9C73-92A9B5451503}" presName="postLine3" presStyleLbl="parChTrans1D1" presStyleIdx="207" presStyleCnt="226"/>
      <dgm:spPr/>
    </dgm:pt>
    <dgm:pt modelId="{4A66420D-4369-4E2F-BE3F-222FEE6DF76F}" type="pres">
      <dgm:prSet presAssocID="{3E7EA8C8-2F36-4EDB-B72F-33B0CD33E894}" presName="Name79" presStyleLbl="parChTrans1D1" presStyleIdx="208" presStyleCnt="226"/>
      <dgm:spPr/>
    </dgm:pt>
    <dgm:pt modelId="{A4B425F0-E83E-409A-A9A1-7CA958AEEBE9}" type="pres">
      <dgm:prSet presAssocID="{3E7EA8C8-2F36-4EDB-B72F-33B0CD33E894}" presName="Name99" presStyleLbl="parChTrans1D1" presStyleIdx="209" presStyleCnt="226"/>
      <dgm:spPr/>
    </dgm:pt>
    <dgm:pt modelId="{5F2356A5-FC7B-43FC-9263-AC0175A04759}" type="pres">
      <dgm:prSet presAssocID="{D0F58FD9-C79D-40AA-9A3D-BBD6A6043CA8}" presName="txAndLines3" presStyleCnt="0"/>
      <dgm:spPr/>
    </dgm:pt>
    <dgm:pt modelId="{F3F219EC-2750-42AC-A57A-E2CD32F86B0C}" type="pres">
      <dgm:prSet presAssocID="{D0F58FD9-C79D-40AA-9A3D-BBD6A6043CA8}" presName="anchor3" presStyleCnt="0"/>
      <dgm:spPr/>
    </dgm:pt>
    <dgm:pt modelId="{D897A472-C028-46DF-B008-8219A048FEBD}" type="pres">
      <dgm:prSet presAssocID="{D0F58FD9-C79D-40AA-9A3D-BBD6A6043CA8}" presName="backup3" presStyleCnt="0"/>
      <dgm:spPr/>
    </dgm:pt>
    <dgm:pt modelId="{62DA6000-FA6B-486A-93D8-770BB5CC9C27}" type="pres">
      <dgm:prSet presAssocID="{D0F58FD9-C79D-40AA-9A3D-BBD6A6043CA8}" presName="preLine3" presStyleLbl="parChTrans1D1" presStyleIdx="210" presStyleCnt="226"/>
      <dgm:spPr/>
    </dgm:pt>
    <dgm:pt modelId="{E2F9B266-EE48-466A-A1F3-11713587B77B}" type="pres">
      <dgm:prSet presAssocID="{D0F58FD9-C79D-40AA-9A3D-BBD6A6043CA8}" presName="desTx3" presStyleLbl="revTx" presStyleIdx="0" presStyleCnt="0">
        <dgm:presLayoutVars>
          <dgm:bulletEnabled val="1"/>
        </dgm:presLayoutVars>
      </dgm:prSet>
      <dgm:spPr/>
    </dgm:pt>
    <dgm:pt modelId="{AAE3EB14-5B30-4F53-9924-2D95FECB8E38}" type="pres">
      <dgm:prSet presAssocID="{D0F58FD9-C79D-40AA-9A3D-BBD6A6043CA8}" presName="postLine3" presStyleLbl="parChTrans1D1" presStyleIdx="211" presStyleCnt="226"/>
      <dgm:spPr/>
    </dgm:pt>
    <dgm:pt modelId="{446DE2A6-F638-48AC-AA9E-ACABC52E4822}" type="pres">
      <dgm:prSet presAssocID="{B4326B02-4A74-413A-8151-B20674E3FDEE}" presName="Name79" presStyleLbl="parChTrans1D1" presStyleIdx="212" presStyleCnt="226"/>
      <dgm:spPr/>
    </dgm:pt>
    <dgm:pt modelId="{F2C36B70-62DF-4F4A-BC86-57402FB90531}" type="pres">
      <dgm:prSet presAssocID="{B4326B02-4A74-413A-8151-B20674E3FDEE}" presName="Name99" presStyleLbl="parChTrans1D1" presStyleIdx="213" presStyleCnt="226"/>
      <dgm:spPr/>
    </dgm:pt>
    <dgm:pt modelId="{010BA322-EAEA-44CE-8AB9-B1998FBB1E3D}" type="pres">
      <dgm:prSet presAssocID="{E9C4DEF3-9170-4FE6-B7DE-649F4DF90271}" presName="txAndLines3" presStyleCnt="0"/>
      <dgm:spPr/>
    </dgm:pt>
    <dgm:pt modelId="{EFF7D3FA-2F25-4F27-9D1E-CCC920452B07}" type="pres">
      <dgm:prSet presAssocID="{E9C4DEF3-9170-4FE6-B7DE-649F4DF90271}" presName="anchor3" presStyleCnt="0"/>
      <dgm:spPr/>
    </dgm:pt>
    <dgm:pt modelId="{B83064FC-4C11-45C4-8148-A750B766C8D9}" type="pres">
      <dgm:prSet presAssocID="{E9C4DEF3-9170-4FE6-B7DE-649F4DF90271}" presName="backup3" presStyleCnt="0"/>
      <dgm:spPr/>
    </dgm:pt>
    <dgm:pt modelId="{0FA95547-2427-438B-B62B-6A29F45EC643}" type="pres">
      <dgm:prSet presAssocID="{E9C4DEF3-9170-4FE6-B7DE-649F4DF90271}" presName="preLine3" presStyleLbl="parChTrans1D1" presStyleIdx="214" presStyleCnt="226"/>
      <dgm:spPr/>
    </dgm:pt>
    <dgm:pt modelId="{7B21B78C-CE54-46B9-A98F-230C52077F47}" type="pres">
      <dgm:prSet presAssocID="{E9C4DEF3-9170-4FE6-B7DE-649F4DF90271}" presName="desTx3" presStyleLbl="revTx" presStyleIdx="0" presStyleCnt="0">
        <dgm:presLayoutVars>
          <dgm:bulletEnabled val="1"/>
        </dgm:presLayoutVars>
      </dgm:prSet>
      <dgm:spPr/>
    </dgm:pt>
    <dgm:pt modelId="{B16A5228-AF1A-4834-94C7-DD1C65333E0C}" type="pres">
      <dgm:prSet presAssocID="{E9C4DEF3-9170-4FE6-B7DE-649F4DF90271}" presName="postLine3" presStyleLbl="parChTrans1D1" presStyleIdx="215" presStyleCnt="226"/>
      <dgm:spPr/>
    </dgm:pt>
    <dgm:pt modelId="{8B92C1CF-4CEE-420C-AA40-D3220AA53129}" type="pres">
      <dgm:prSet presAssocID="{312BBC4A-71BA-4FF1-A7AF-4BD8B3617FD4}" presName="Name79" presStyleLbl="parChTrans1D1" presStyleIdx="216" presStyleCnt="226"/>
      <dgm:spPr/>
    </dgm:pt>
    <dgm:pt modelId="{5257B1A1-590F-4694-A04A-3E632C6A8A0A}" type="pres">
      <dgm:prSet presAssocID="{312BBC4A-71BA-4FF1-A7AF-4BD8B3617FD4}" presName="Name99" presStyleLbl="parChTrans1D1" presStyleIdx="217" presStyleCnt="226"/>
      <dgm:spPr/>
    </dgm:pt>
    <dgm:pt modelId="{6E23DB54-F405-423B-BA6E-CE9E803760DD}" type="pres">
      <dgm:prSet presAssocID="{D15C9986-12BF-421B-A306-FED6DED62317}" presName="txAndLines3" presStyleCnt="0"/>
      <dgm:spPr/>
    </dgm:pt>
    <dgm:pt modelId="{0470CF2C-223B-4343-8FEB-AA06B6BEF241}" type="pres">
      <dgm:prSet presAssocID="{D15C9986-12BF-421B-A306-FED6DED62317}" presName="anchor3" presStyleCnt="0"/>
      <dgm:spPr/>
    </dgm:pt>
    <dgm:pt modelId="{BD0BBDD9-CA1F-45D0-8CE0-F66A8E86E3A5}" type="pres">
      <dgm:prSet presAssocID="{D15C9986-12BF-421B-A306-FED6DED62317}" presName="backup3" presStyleCnt="0"/>
      <dgm:spPr/>
    </dgm:pt>
    <dgm:pt modelId="{81A98007-71A7-4B1B-BE16-14F078A3F7D6}" type="pres">
      <dgm:prSet presAssocID="{D15C9986-12BF-421B-A306-FED6DED62317}" presName="preLine3" presStyleLbl="parChTrans1D1" presStyleIdx="218" presStyleCnt="226"/>
      <dgm:spPr/>
    </dgm:pt>
    <dgm:pt modelId="{31C22902-AA22-4234-9886-0D502F5E57E6}" type="pres">
      <dgm:prSet presAssocID="{D15C9986-12BF-421B-A306-FED6DED62317}" presName="desTx3" presStyleLbl="revTx" presStyleIdx="0" presStyleCnt="0">
        <dgm:presLayoutVars>
          <dgm:bulletEnabled val="1"/>
        </dgm:presLayoutVars>
      </dgm:prSet>
      <dgm:spPr/>
    </dgm:pt>
    <dgm:pt modelId="{4833586B-7CB5-405F-9767-E051EC19CAB8}" type="pres">
      <dgm:prSet presAssocID="{D15C9986-12BF-421B-A306-FED6DED62317}" presName="postLine3" presStyleLbl="parChTrans1D1" presStyleIdx="219" presStyleCnt="226"/>
      <dgm:spPr/>
    </dgm:pt>
    <dgm:pt modelId="{85213917-8FA8-40EB-B227-34AFF84BAB8C}" type="pres">
      <dgm:prSet presAssocID="{65F0DE9F-27BC-4E8C-8DAE-1C5072173252}" presName="Name79" presStyleLbl="parChTrans1D1" presStyleIdx="220" presStyleCnt="226"/>
      <dgm:spPr/>
    </dgm:pt>
    <dgm:pt modelId="{FA24D1DE-8916-4FCF-AC64-EF50F3F6E4D6}" type="pres">
      <dgm:prSet presAssocID="{65F0DE9F-27BC-4E8C-8DAE-1C5072173252}" presName="Name99" presStyleLbl="parChTrans1D1" presStyleIdx="221" presStyleCnt="226"/>
      <dgm:spPr/>
    </dgm:pt>
    <dgm:pt modelId="{C42A6F9C-0CDB-4165-8E1A-0AA05A874164}" type="pres">
      <dgm:prSet presAssocID="{8D47409D-B2BD-4729-B1A6-80CCCC0837F6}" presName="txAndLines3" presStyleCnt="0"/>
      <dgm:spPr/>
    </dgm:pt>
    <dgm:pt modelId="{A980FFBC-878B-49C8-A1EC-D2288D5E7422}" type="pres">
      <dgm:prSet presAssocID="{8D47409D-B2BD-4729-B1A6-80CCCC0837F6}" presName="anchor3" presStyleCnt="0"/>
      <dgm:spPr/>
    </dgm:pt>
    <dgm:pt modelId="{B2D828F9-B256-4B8F-9DDF-EDB0D400FB6A}" type="pres">
      <dgm:prSet presAssocID="{8D47409D-B2BD-4729-B1A6-80CCCC0837F6}" presName="backup3" presStyleCnt="0"/>
      <dgm:spPr/>
    </dgm:pt>
    <dgm:pt modelId="{D7271D8D-4224-4CDE-AEB7-45261D09B04D}" type="pres">
      <dgm:prSet presAssocID="{8D47409D-B2BD-4729-B1A6-80CCCC0837F6}" presName="preLine3" presStyleLbl="parChTrans1D1" presStyleIdx="222" presStyleCnt="226"/>
      <dgm:spPr/>
    </dgm:pt>
    <dgm:pt modelId="{6470B1C4-D227-4720-99B1-5491213F2CB3}" type="pres">
      <dgm:prSet presAssocID="{8D47409D-B2BD-4729-B1A6-80CCCC0837F6}" presName="desTx3" presStyleLbl="revTx" presStyleIdx="0" presStyleCnt="0">
        <dgm:presLayoutVars>
          <dgm:bulletEnabled val="1"/>
        </dgm:presLayoutVars>
      </dgm:prSet>
      <dgm:spPr/>
    </dgm:pt>
    <dgm:pt modelId="{4959AF41-7C95-437F-955A-D5D156864135}" type="pres">
      <dgm:prSet presAssocID="{8D47409D-B2BD-4729-B1A6-80CCCC0837F6}" presName="postLine3" presStyleLbl="parChTrans1D1" presStyleIdx="223" presStyleCnt="226"/>
      <dgm:spPr/>
    </dgm:pt>
    <dgm:pt modelId="{9E4FA90C-75BC-4C28-96A0-93DB622CE2AE}" type="pres">
      <dgm:prSet presAssocID="{81AD932E-1EFE-4B07-AAAB-49C273B1FEF2}" presName="spPost3" presStyleCnt="0"/>
      <dgm:spPr/>
    </dgm:pt>
    <dgm:pt modelId="{DC724C37-6962-4811-BC0B-103522458BE7}" type="pres">
      <dgm:prSet presAssocID="{0947A48E-BDEA-46BC-B8EB-5CD78FF7026F}" presName="parTx4" presStyleLbl="node1" presStyleIdx="3" presStyleCnt="4"/>
      <dgm:spPr/>
    </dgm:pt>
    <dgm:pt modelId="{BA5B1853-B7AB-4B9F-9165-E44BE197A77D}" type="pres">
      <dgm:prSet presAssocID="{0947A48E-BDEA-46BC-B8EB-5CD78FF7026F}" presName="spPre4" presStyleCnt="0"/>
      <dgm:spPr/>
    </dgm:pt>
    <dgm:pt modelId="{FC74D7EE-B97D-4B8D-BF30-9DA85E7F938B}" type="pres">
      <dgm:prSet presAssocID="{0947A48E-BDEA-46BC-B8EB-5CD78FF7026F}" presName="chLin4" presStyleCnt="0"/>
      <dgm:spPr/>
    </dgm:pt>
    <dgm:pt modelId="{5FCC07AA-2999-42DC-9817-A4E6EA41374C}" type="pres">
      <dgm:prSet presAssocID="{86AF68E6-7586-488F-A3F8-2A70A9833C0C}" presName="Name113" presStyleLbl="parChTrans1D1" presStyleIdx="224" presStyleCnt="226"/>
      <dgm:spPr/>
    </dgm:pt>
    <dgm:pt modelId="{7EABEA73-64C6-E848-A9BA-16672CC49791}" type="pres">
      <dgm:prSet presAssocID="{C37DD6F8-3C28-4B74-96AF-2091F749C42B}" presName="top4" presStyleCnt="0"/>
      <dgm:spPr/>
    </dgm:pt>
    <dgm:pt modelId="{5D6F0A21-9648-444F-838E-7EF65A1BBDCB}" type="pres">
      <dgm:prSet presAssocID="{C37DD6F8-3C28-4B74-96AF-2091F749C42B}" presName="txAndLines4" presStyleCnt="0"/>
      <dgm:spPr/>
    </dgm:pt>
    <dgm:pt modelId="{E1C5914E-67A9-4AF7-8C0E-A87A4FDE768B}" type="pres">
      <dgm:prSet presAssocID="{C37DD6F8-3C28-4B74-96AF-2091F749C42B}" presName="anchor4" presStyleCnt="0"/>
      <dgm:spPr/>
    </dgm:pt>
    <dgm:pt modelId="{17E08D51-A805-44C0-8B19-DCB27979D733}" type="pres">
      <dgm:prSet presAssocID="{C37DD6F8-3C28-4B74-96AF-2091F749C42B}" presName="backup4" presStyleCnt="0"/>
      <dgm:spPr/>
    </dgm:pt>
    <dgm:pt modelId="{E55E1E42-07ED-40F8-8088-6E828BAE310F}" type="pres">
      <dgm:prSet presAssocID="{C37DD6F8-3C28-4B74-96AF-2091F749C42B}" presName="preLine4" presStyleLbl="parChTrans1D1" presStyleIdx="225" presStyleCnt="226"/>
      <dgm:spPr/>
    </dgm:pt>
    <dgm:pt modelId="{87D4E799-F33F-44D6-A119-FEE201B50EFE}" type="pres">
      <dgm:prSet presAssocID="{C37DD6F8-3C28-4B74-96AF-2091F749C42B}" presName="desTx4" presStyleLbl="revTx" presStyleIdx="0" presStyleCnt="0">
        <dgm:presLayoutVars>
          <dgm:bulletEnabled val="1"/>
        </dgm:presLayoutVars>
      </dgm:prSet>
      <dgm:spPr/>
    </dgm:pt>
  </dgm:ptLst>
  <dgm:cxnLst>
    <dgm:cxn modelId="{C5082A06-5D9F-47C2-A929-D56BF0504FE0}" srcId="{ED9B2AA3-B886-4718-9515-BD25C877AC91}" destId="{2AA5FE31-A530-40F8-96E3-32233042BEF6}" srcOrd="13" destOrd="0" parTransId="{A712068F-59CC-4086-84A7-E824F9EEEED5}" sibTransId="{F76E084D-3797-440B-BE1E-20B8CB8437F1}"/>
    <dgm:cxn modelId="{0B000C08-91A2-A64F-A09C-0C8818794240}" type="presOf" srcId="{0003066C-8329-4A94-80D4-58EADC4C55D4}" destId="{3C836BC8-DFEF-45D6-B8EF-59015ABC36ED}" srcOrd="0" destOrd="0" presId="urn:microsoft.com/office/officeart/2009/3/layout/SubStepProcess"/>
    <dgm:cxn modelId="{4723AE0A-8F47-3841-B306-ED15413BB052}" type="presOf" srcId="{962430D0-BA6A-410E-A008-EDB64C26EFD5}" destId="{F49ED71A-952E-42A2-B1A7-50BADED565C0}" srcOrd="0" destOrd="0" presId="urn:microsoft.com/office/officeart/2009/3/layout/SubStepProcess"/>
    <dgm:cxn modelId="{2A0FF90A-7E08-42BC-A8E6-54340660B713}" srcId="{81AD932E-1EFE-4B07-AAAB-49C273B1FEF2}" destId="{D0F58FD9-C79D-40AA-9A3D-BBD6A6043CA8}" srcOrd="8" destOrd="0" parTransId="{3E7EA8C8-2F36-4EDB-B72F-33B0CD33E894}" sibTransId="{1CA014FA-F51D-48B4-87A2-494DDDF21512}"/>
    <dgm:cxn modelId="{FCDC130C-4D31-8747-BB29-659905FA6A0C}" type="presOf" srcId="{ED9B2AA3-B886-4718-9515-BD25C877AC91}" destId="{1366FEE6-18BF-4FBA-9CBA-BDE478DB8E85}" srcOrd="0" destOrd="0" presId="urn:microsoft.com/office/officeart/2009/3/layout/SubStepProcess"/>
    <dgm:cxn modelId="{25114A0C-A915-4B45-92A8-C3FAFC082665}" srcId="{0947A48E-BDEA-46BC-B8EB-5CD78FF7026F}" destId="{C37DD6F8-3C28-4B74-96AF-2091F749C42B}" srcOrd="0" destOrd="0" parTransId="{86AF68E6-7586-488F-A3F8-2A70A9833C0C}" sibTransId="{6FABD876-18A1-478F-9982-12AB202F19EB}"/>
    <dgm:cxn modelId="{9A546E0D-6327-428A-8CAF-F8B9C46023B3}" srcId="{81AD932E-1EFE-4B07-AAAB-49C273B1FEF2}" destId="{5F1C90BD-CFED-48AA-93D1-764B5464A558}" srcOrd="4" destOrd="0" parTransId="{2AC00AD4-AFA2-4886-8178-D47CAD5B20FE}" sibTransId="{6640C93E-02F1-4839-8AB8-23D8C3E57474}"/>
    <dgm:cxn modelId="{B28C160F-F889-4D4D-8948-C76FA105C35F}" type="presOf" srcId="{6B058896-2F27-40A8-A39A-528828759DE7}" destId="{B1344875-4773-4F11-BEC4-69EFB76B7E5F}" srcOrd="0" destOrd="0" presId="urn:microsoft.com/office/officeart/2009/3/layout/SubStepProcess"/>
    <dgm:cxn modelId="{D075450F-149D-C546-91C6-B9A409500EB8}" type="presOf" srcId="{DD6DD099-67BA-4BDD-9CF0-FDA7C124D7C1}" destId="{8A2AF5FB-F8BB-4E9C-A3B5-44F2191A3712}" srcOrd="0" destOrd="0" presId="urn:microsoft.com/office/officeart/2009/3/layout/SubStepProcess"/>
    <dgm:cxn modelId="{21934A12-1335-4370-8D85-542C3406364D}" srcId="{ED9B2AA3-B886-4718-9515-BD25C877AC91}" destId="{BB4757E1-774D-4718-85F1-270AD90ED1BF}" srcOrd="1" destOrd="0" parTransId="{8E56D59F-B7B8-4D2C-AC2C-635AB4ED87B8}" sibTransId="{883433D6-BEC8-4301-8215-6714E6970DAB}"/>
    <dgm:cxn modelId="{1BEB9E15-6F01-AD44-85BE-482F7AF8FDC9}" type="presOf" srcId="{78F3C406-E349-4E08-A644-4C711389428C}" destId="{74A2328C-CAD0-47EB-9266-A1C8F1907991}" srcOrd="0" destOrd="0" presId="urn:microsoft.com/office/officeart/2009/3/layout/SubStepProcess"/>
    <dgm:cxn modelId="{234C2C16-6EA6-4396-946E-5BFF7A75307A}" srcId="{ED9B2AA3-B886-4718-9515-BD25C877AC91}" destId="{4B6E1CA3-194A-4E02-AC41-93FA6D3C17FC}" srcOrd="26" destOrd="0" parTransId="{AAB88197-374B-4B25-8E84-85B6440B7D1B}" sibTransId="{ACA069C3-783C-4260-81AD-D3478D729D11}"/>
    <dgm:cxn modelId="{2FA0A917-FD8C-2C4D-A54C-CF113A857554}" type="presOf" srcId="{7C86FFEC-A29F-47E5-8E06-B2A39B5233FF}" destId="{37FF6F26-2703-4C12-927D-A9044CB7378E}" srcOrd="0" destOrd="0" presId="urn:microsoft.com/office/officeart/2009/3/layout/SubStepProcess"/>
    <dgm:cxn modelId="{D9DCB817-329B-0346-9587-1C0BA5C42D2D}" type="presOf" srcId="{48FC338D-A476-4C10-A799-613B23248D88}" destId="{A953DB99-6F27-4824-BEDD-8BAD67DE9BD1}" srcOrd="0" destOrd="0" presId="urn:microsoft.com/office/officeart/2009/3/layout/SubStepProcess"/>
    <dgm:cxn modelId="{F295F817-8796-8849-BA3C-43013AE6418F}" type="presOf" srcId="{E397576D-5C3B-4E42-98E8-028A409AFAB0}" destId="{6564B9C6-D729-4BF0-A060-EDDCC991BBA2}" srcOrd="0" destOrd="0" presId="urn:microsoft.com/office/officeart/2009/3/layout/SubStepProcess"/>
    <dgm:cxn modelId="{822CA31C-355D-1E48-BFF9-841D45BC2248}" type="presOf" srcId="{BB4757E1-774D-4718-85F1-270AD90ED1BF}" destId="{F82E1769-B4D9-4591-9AE2-7D6939AF515F}" srcOrd="0" destOrd="0" presId="urn:microsoft.com/office/officeart/2009/3/layout/SubStepProcess"/>
    <dgm:cxn modelId="{74E2B825-7A52-4F53-9F8A-1935EBCFCEF1}" srcId="{ED9B2AA3-B886-4718-9515-BD25C877AC91}" destId="{04F48DAA-3773-4540-9C75-C3CB69AEA724}" srcOrd="10" destOrd="0" parTransId="{ADB85975-2C4C-494B-955F-CCE57F4529A4}" sibTransId="{BDCB4FAE-671D-4BF7-933B-938E93258F7A}"/>
    <dgm:cxn modelId="{8AD04F27-B28F-4E23-8299-28AA9E63A229}" srcId="{ED9B2AA3-B886-4718-9515-BD25C877AC91}" destId="{F50E0E87-F0DD-412B-B012-CF0CC022CF9C}" srcOrd="14" destOrd="0" parTransId="{5AF9220E-C3E0-41FF-8E97-8172920A6DBF}" sibTransId="{8A716752-B824-4400-A6C7-EB5BE295FFE1}"/>
    <dgm:cxn modelId="{C4894B2A-59FD-4B29-905A-8455F3EAA7FF}" srcId="{ED9B2AA3-B886-4718-9515-BD25C877AC91}" destId="{E397576D-5C3B-4E42-98E8-028A409AFAB0}" srcOrd="15" destOrd="0" parTransId="{7C516925-7D40-4AF4-BF40-D0892246A05C}" sibTransId="{2CC7D165-4869-436C-A56A-8A6134D8249A}"/>
    <dgm:cxn modelId="{E68F082C-6090-440A-9DB7-D757AC13C3FD}" srcId="{ED9B2AA3-B886-4718-9515-BD25C877AC91}" destId="{7C86FFEC-A29F-47E5-8E06-B2A39B5233FF}" srcOrd="11" destOrd="0" parTransId="{C64A3097-5B6E-41B1-B110-BAF67E65FF7C}" sibTransId="{433A169D-497C-4A7C-8F34-E205E2A68850}"/>
    <dgm:cxn modelId="{FF56FB2E-834A-4A41-A555-FD3009420CFB}" srcId="{ED9B2AA3-B886-4718-9515-BD25C877AC91}" destId="{E27A6E06-D669-4635-BB86-B92287B64581}" srcOrd="25" destOrd="0" parTransId="{9F469BAA-9A7A-4245-B457-9D64C96B67B7}" sibTransId="{E1CDC9D7-B386-4700-B188-806B05B612E2}"/>
    <dgm:cxn modelId="{914D0F2F-B6E1-4A0A-9E52-CB0CC27D2E15}" srcId="{6B058896-2F27-40A8-A39A-528828759DE7}" destId="{81AD932E-1EFE-4B07-AAAB-49C273B1FEF2}" srcOrd="2" destOrd="0" parTransId="{5735CB56-0403-4396-A98D-CA60CC31F45F}" sibTransId="{D3B43CF0-1DDC-45FE-892A-6B2A7D5D9DA1}"/>
    <dgm:cxn modelId="{658E7B2F-F5F6-ED4C-BFCD-CF16B5CA686B}" type="presOf" srcId="{CD55354C-8929-4278-981F-58E1F8D41A8F}" destId="{19168486-C987-44BC-9278-3784C0323F7A}" srcOrd="0" destOrd="0" presId="urn:microsoft.com/office/officeart/2009/3/layout/SubStepProcess"/>
    <dgm:cxn modelId="{D69EE22F-F911-8F45-AA9D-651FFB0E58CD}" type="presOf" srcId="{D00BDA0F-5677-43D2-9C73-92A9B5451503}" destId="{AEC525D5-FDF5-4EAE-BB2E-5E59CEF8CD6E}" srcOrd="0" destOrd="0" presId="urn:microsoft.com/office/officeart/2009/3/layout/SubStepProcess"/>
    <dgm:cxn modelId="{511A2439-1878-455A-9DFE-EDB78FB2A81D}" srcId="{81AD932E-1EFE-4B07-AAAB-49C273B1FEF2}" destId="{8D47409D-B2BD-4729-B1A6-80CCCC0837F6}" srcOrd="11" destOrd="0" parTransId="{65F0DE9F-27BC-4E8C-8DAE-1C5072173252}" sibTransId="{AD952D94-A859-4236-9D9F-59BD232E954F}"/>
    <dgm:cxn modelId="{E869D441-1FC5-CF46-9831-EF3AE43CB35E}" type="presOf" srcId="{D15C9986-12BF-421B-A306-FED6DED62317}" destId="{31C22902-AA22-4234-9886-0D502F5E57E6}" srcOrd="0" destOrd="0" presId="urn:microsoft.com/office/officeart/2009/3/layout/SubStepProcess"/>
    <dgm:cxn modelId="{957C1244-1207-704B-910F-53DC6C809126}" type="presOf" srcId="{FEB4B16B-9D24-4077-AF3F-DD7E23E73A3F}" destId="{27AF215D-A3BF-43FC-AA48-1FF1E090E1EF}" srcOrd="0" destOrd="0" presId="urn:microsoft.com/office/officeart/2009/3/layout/SubStepProcess"/>
    <dgm:cxn modelId="{83E75747-77B5-064B-AD65-D589A3D313FF}" type="presOf" srcId="{124D71EF-1890-4B20-8144-9786416977BA}" destId="{3CC71BB9-B0C9-4297-94D1-F1660B5DCB67}" srcOrd="0" destOrd="0" presId="urn:microsoft.com/office/officeart/2009/3/layout/SubStepProcess"/>
    <dgm:cxn modelId="{6463C747-76B9-4866-9D1B-75F02C879B7B}" srcId="{771AF7B4-C8D8-4616-A2B7-5F9CAC081CB7}" destId="{60F0E2C0-A35A-47A1-A177-D4F84F7776F7}" srcOrd="3" destOrd="0" parTransId="{8BB502BD-C20B-4E24-8017-73638CAF8123}" sibTransId="{C2A5997D-5A59-4FAB-84D0-750F4E6CD15F}"/>
    <dgm:cxn modelId="{05192E49-8CB3-4797-AD1B-5F1CAAD60CB5}" srcId="{ED9B2AA3-B886-4718-9515-BD25C877AC91}" destId="{02EA5422-2475-40BA-8A21-A3761ABE1FE7}" srcOrd="21" destOrd="0" parTransId="{0C705E2D-3854-448D-87AD-82436F7C2A33}" sibTransId="{260D215D-DEB3-454F-8F88-D933FF064026}"/>
    <dgm:cxn modelId="{AF78714A-5B70-D147-BAF0-9FB034F96127}" type="presOf" srcId="{7ACFDA69-F7FF-4EBF-98C1-E6CEEA263722}" destId="{048DC5AB-1F21-4864-A935-685345AC4C7A}" srcOrd="0" destOrd="0" presId="urn:microsoft.com/office/officeart/2009/3/layout/SubStepProcess"/>
    <dgm:cxn modelId="{16833A50-8D12-4DAB-80BF-EEDB99F1FB48}" srcId="{771AF7B4-C8D8-4616-A2B7-5F9CAC081CB7}" destId="{48FC338D-A476-4C10-A799-613B23248D88}" srcOrd="14" destOrd="0" parTransId="{3528B26E-9ACE-4585-AFC7-812400523FCE}" sibTransId="{4C195970-4D3D-40C2-8C5F-7C435B78BE3C}"/>
    <dgm:cxn modelId="{B4A10353-2785-4C51-A7B9-DA9D11C60C6A}" srcId="{81AD932E-1EFE-4B07-AAAB-49C273B1FEF2}" destId="{BC5A8ACA-8AA1-4E7A-944E-0D81BEC1F0B9}" srcOrd="2" destOrd="0" parTransId="{E41C4533-68C0-4899-8535-563338656BD0}" sibTransId="{48EAC9DE-7AC2-43F5-BE01-7F89063B2A54}"/>
    <dgm:cxn modelId="{B9B16554-0798-40F4-B0F6-E7231745AA73}" srcId="{ED9B2AA3-B886-4718-9515-BD25C877AC91}" destId="{A4A4ED36-B86E-4F65-98FF-D018712E65A7}" srcOrd="5" destOrd="0" parTransId="{C7E5F0E9-04C9-4C50-85BA-EC1D8DD74B00}" sibTransId="{4E108322-33C8-4537-8E14-DC9C4D2B2B53}"/>
    <dgm:cxn modelId="{3A3E8E56-A5FB-E044-B913-652E2B77C692}" type="presOf" srcId="{5F1C90BD-CFED-48AA-93D1-764B5464A558}" destId="{DA7FB760-CBBB-4DAF-A604-68D9C78CF80A}" srcOrd="0" destOrd="0" presId="urn:microsoft.com/office/officeart/2009/3/layout/SubStepProcess"/>
    <dgm:cxn modelId="{E9880458-2490-4D28-9937-E33C9469073D}" srcId="{771AF7B4-C8D8-4616-A2B7-5F9CAC081CB7}" destId="{5A1F7174-7B30-4AE6-AD8C-5245CD333DED}" srcOrd="15" destOrd="0" parTransId="{9201D496-EF29-4D2E-B73F-635DE17DD6E8}" sibTransId="{1269843A-23B4-4222-A832-29CF4664ACCB}"/>
    <dgm:cxn modelId="{85594B5A-6A33-467C-B6B2-5F18E37E7EE8}" srcId="{ED9B2AA3-B886-4718-9515-BD25C877AC91}" destId="{F6AA3461-59E5-4178-8682-DDF14570D70D}" srcOrd="23" destOrd="0" parTransId="{35814C7E-02D3-42B4-BBF2-086AD2AAD555}" sibTransId="{CCA22FA9-8BF4-41A2-8194-2F4F60EAF0FD}"/>
    <dgm:cxn modelId="{D11DE65A-E39F-8144-95DF-BC1032F716C3}" type="presOf" srcId="{0947A48E-BDEA-46BC-B8EB-5CD78FF7026F}" destId="{DC724C37-6962-4811-BC0B-103522458BE7}" srcOrd="0" destOrd="0" presId="urn:microsoft.com/office/officeart/2009/3/layout/SubStepProcess"/>
    <dgm:cxn modelId="{38683A5B-2439-44E1-9FAD-AAC3B420B176}" srcId="{771AF7B4-C8D8-4616-A2B7-5F9CAC081CB7}" destId="{5E1E8C85-F4FB-49BD-9F6E-819CB4EDB311}" srcOrd="2" destOrd="0" parTransId="{89AA281E-2A8B-430E-95D9-805F0FDFA7B9}" sibTransId="{C75D75A4-CBE9-4F72-BE6F-ABF47D3AEC3D}"/>
    <dgm:cxn modelId="{41714E5D-503E-DE48-8339-B58B72682F5A}" type="presOf" srcId="{AB56B749-5EC8-4C6D-9DAF-2A50A2E2A075}" destId="{B39A57B6-331C-4EC5-B637-A6FD3A59D7B8}" srcOrd="0" destOrd="0" presId="urn:microsoft.com/office/officeart/2009/3/layout/SubStepProcess"/>
    <dgm:cxn modelId="{1AE8525E-A8A6-084C-A499-757C48574F8B}" type="presOf" srcId="{223FA01B-2654-411E-B8A1-699E347C88BC}" destId="{06784979-493B-4910-AD6C-B5498284E6B8}" srcOrd="0" destOrd="0" presId="urn:microsoft.com/office/officeart/2009/3/layout/SubStepProcess"/>
    <dgm:cxn modelId="{62056460-DD35-432B-97C5-9EDFDA0352F1}" srcId="{ED9B2AA3-B886-4718-9515-BD25C877AC91}" destId="{223FA01B-2654-411E-B8A1-699E347C88BC}" srcOrd="9" destOrd="0" parTransId="{22558CEF-2D96-4AD6-A246-77F8A88B0FA2}" sibTransId="{6013BFEB-D95F-481B-9EF5-872E949BA53D}"/>
    <dgm:cxn modelId="{11D89A60-F587-364D-9DF4-CE58EFBFC532}" type="presOf" srcId="{1C9B8ACF-6C3E-4CA5-A077-34F00D9B846D}" destId="{1A320285-F1F0-4098-B378-F46F92806B36}" srcOrd="0" destOrd="0" presId="urn:microsoft.com/office/officeart/2009/3/layout/SubStepProcess"/>
    <dgm:cxn modelId="{846A6765-E9CF-F04F-BEEA-3404C468E781}" type="presOf" srcId="{654640F8-E38E-4BF1-AEC3-DCE2A931DEDA}" destId="{87D075D9-A93C-4EA3-8DB8-3DA166F1F75F}" srcOrd="0" destOrd="0" presId="urn:microsoft.com/office/officeart/2009/3/layout/SubStepProcess"/>
    <dgm:cxn modelId="{F8E11166-964E-5442-82E3-75656FCB75B8}" type="presOf" srcId="{E5C776D5-0CAD-4B6B-9424-975303162719}" destId="{A67310D7-CEC2-4430-BCD1-94A8B50FF451}" srcOrd="0" destOrd="0" presId="urn:microsoft.com/office/officeart/2009/3/layout/SubStepProcess"/>
    <dgm:cxn modelId="{00D5026A-3BB9-4E93-A589-6433F8F2520B}" srcId="{ED9B2AA3-B886-4718-9515-BD25C877AC91}" destId="{FC37ED9B-8338-4944-B9D9-1A9B2CC315E1}" srcOrd="0" destOrd="0" parTransId="{A181C4D2-3CF2-45E4-9EA5-B7564BEC073F}" sibTransId="{587E70AE-7754-4296-8BCE-89170C260240}"/>
    <dgm:cxn modelId="{C989126A-D347-3847-9C2C-9AC113BFB0A5}" type="presOf" srcId="{07F60B7E-FEC6-49B4-B64F-85D78C21459E}" destId="{263A2AC7-A989-4575-9E10-487E49679FBB}" srcOrd="0" destOrd="0" presId="urn:microsoft.com/office/officeart/2009/3/layout/SubStepProcess"/>
    <dgm:cxn modelId="{8F9FF26F-ACF8-44E4-AE75-C9C30E366B41}" srcId="{771AF7B4-C8D8-4616-A2B7-5F9CAC081CB7}" destId="{7FEF55C4-D857-4E30-B13A-42E223E87049}" srcOrd="8" destOrd="0" parTransId="{3BE8B3D4-1652-41E8-94D2-CE486AE70F45}" sibTransId="{B80161ED-443B-4CEB-9FF3-F7078C830E9B}"/>
    <dgm:cxn modelId="{81B78E70-DA04-4786-882D-F35C48DC50FC}" srcId="{771AF7B4-C8D8-4616-A2B7-5F9CAC081CB7}" destId="{B949D102-2C52-4F6D-85A5-BF317065AA8C}" srcOrd="7" destOrd="0" parTransId="{1C0067C0-34B2-4A1F-B487-13D89274124C}" sibTransId="{9D087F44-56DE-4539-8F09-4A5018467D23}"/>
    <dgm:cxn modelId="{78E81272-83A6-8342-86AF-FAD275373F84}" type="presOf" srcId="{5E1E8C85-F4FB-49BD-9F6E-819CB4EDB311}" destId="{42B29999-E830-48D3-9636-F1ABA5ED1FD8}" srcOrd="0" destOrd="0" presId="urn:microsoft.com/office/officeart/2009/3/layout/SubStepProcess"/>
    <dgm:cxn modelId="{FE079673-9192-4D19-A9D7-64575ECCDA74}" srcId="{ED9B2AA3-B886-4718-9515-BD25C877AC91}" destId="{F0BFD6E9-973F-4C1A-A86D-86115FB8BBBD}" srcOrd="12" destOrd="0" parTransId="{4F9E7152-719B-4B7D-86F2-2EFD9B91F807}" sibTransId="{E54A5AC9-6167-458C-9063-3A8DB902F23E}"/>
    <dgm:cxn modelId="{7EF2EA73-CA41-44B9-B169-8DD3F32D5F72}" srcId="{771AF7B4-C8D8-4616-A2B7-5F9CAC081CB7}" destId="{0003066C-8329-4A94-80D4-58EADC4C55D4}" srcOrd="6" destOrd="0" parTransId="{777451DC-98FA-4D24-92CC-DF0F221658C8}" sibTransId="{30FB3455-9E39-4C77-AA69-44923755C55D}"/>
    <dgm:cxn modelId="{91586276-AA51-744E-B923-799086336606}" type="presOf" srcId="{F0BFD6E9-973F-4C1A-A86D-86115FB8BBBD}" destId="{CDAA6B94-9F49-4AF9-AE3E-32F9C77F44E2}" srcOrd="0" destOrd="0" presId="urn:microsoft.com/office/officeart/2009/3/layout/SubStepProcess"/>
    <dgm:cxn modelId="{CE8D1477-072B-8B4F-AD07-F0E0603984E0}" type="presOf" srcId="{E9C4DEF3-9170-4FE6-B7DE-649F4DF90271}" destId="{7B21B78C-CE54-46B9-A98F-230C52077F47}" srcOrd="0" destOrd="0" presId="urn:microsoft.com/office/officeart/2009/3/layout/SubStepProcess"/>
    <dgm:cxn modelId="{7A4E3178-A14A-4F19-9502-8762B268D0DB}" srcId="{81AD932E-1EFE-4B07-AAAB-49C273B1FEF2}" destId="{AB56B749-5EC8-4C6D-9DAF-2A50A2E2A075}" srcOrd="5" destOrd="0" parTransId="{96C2930F-973F-4429-AC95-72C161F4F931}" sibTransId="{C5DFE2D0-8A93-4417-BFB8-88BE7FD51C0B}"/>
    <dgm:cxn modelId="{A8D58E78-8EC4-4602-8162-5A11BF14EF5A}" srcId="{771AF7B4-C8D8-4616-A2B7-5F9CAC081CB7}" destId="{962430D0-BA6A-410E-A008-EDB64C26EFD5}" srcOrd="0" destOrd="0" parTransId="{82F17612-AA6F-4111-B970-21CF1CD7E99C}" sibTransId="{045B5E8F-FB32-45AF-917C-7D561D32E396}"/>
    <dgm:cxn modelId="{2389D27B-2A17-0D43-AB1D-9294DBE1035A}" type="presOf" srcId="{8DB5E133-324C-4383-8123-3AAD0DECBDCF}" destId="{00E3A2FA-A500-4243-8116-6782927EDEA2}" srcOrd="0" destOrd="0" presId="urn:microsoft.com/office/officeart/2009/3/layout/SubStepProcess"/>
    <dgm:cxn modelId="{C409F27C-ACB8-407F-8D78-9F5FC182F0EA}" srcId="{ED9B2AA3-B886-4718-9515-BD25C877AC91}" destId="{9A9E1B88-98A2-4CEB-886A-7C7EACF41FF6}" srcOrd="19" destOrd="0" parTransId="{4B516D8C-AD5A-4A47-8295-9EFB8384DE52}" sibTransId="{5E2BA99D-2D58-4A05-A5A8-24800C726424}"/>
    <dgm:cxn modelId="{51786E7D-B565-4B5E-99D3-273AA84E5F29}" srcId="{771AF7B4-C8D8-4616-A2B7-5F9CAC081CB7}" destId="{CD55354C-8929-4278-981F-58E1F8D41A8F}" srcOrd="5" destOrd="0" parTransId="{65EFD091-1B84-4F4A-9854-06455092582C}" sibTransId="{98EED02E-A48A-4572-9813-A18A6692256D}"/>
    <dgm:cxn modelId="{C988167E-60B3-46E6-9F25-010381BF0D53}" srcId="{81AD932E-1EFE-4B07-AAAB-49C273B1FEF2}" destId="{FFE21F60-2745-4019-A3D8-A7858D2C5D3F}" srcOrd="1" destOrd="0" parTransId="{C76B272C-E73B-47C0-AB79-B4B58303C3EF}" sibTransId="{2011BC61-42C8-4882-8884-76E4D3314F6F}"/>
    <dgm:cxn modelId="{F4410780-8A0F-0F40-BCD1-BBC62E0E920A}" type="presOf" srcId="{07194F9F-15C4-4B4D-B9EC-B69BF50CB49B}" destId="{D467E965-FF7C-48E6-8381-BF47C0B9F1A9}" srcOrd="0" destOrd="0" presId="urn:microsoft.com/office/officeart/2009/3/layout/SubStepProcess"/>
    <dgm:cxn modelId="{70080880-8445-4F5B-84F1-8D82001BBD49}" srcId="{ED9B2AA3-B886-4718-9515-BD25C877AC91}" destId="{07194F9F-15C4-4B4D-B9EC-B69BF50CB49B}" srcOrd="7" destOrd="0" parTransId="{E39CD2B3-A237-40FC-B263-302F120B20A3}" sibTransId="{32691282-C8FD-498D-8169-21270BEA9060}"/>
    <dgm:cxn modelId="{F2263080-D0C5-0349-AFC1-F38043CBFEF7}" type="presOf" srcId="{9A9E1B88-98A2-4CEB-886A-7C7EACF41FF6}" destId="{B25C771D-66D3-4EA6-AE3D-9AFC62CF5E5D}" srcOrd="0" destOrd="0" presId="urn:microsoft.com/office/officeart/2009/3/layout/SubStepProcess"/>
    <dgm:cxn modelId="{891CCB81-CDB9-4DDD-8B70-99002C676813}" srcId="{ED9B2AA3-B886-4718-9515-BD25C877AC91}" destId="{09485C8E-8C79-481C-A6A4-D5CA441597DD}" srcOrd="16" destOrd="0" parTransId="{2C167B31-6B63-477E-9475-DC7E9CB5F58E}" sibTransId="{85D44E1F-65E0-4191-BAF3-8905CA9E4600}"/>
    <dgm:cxn modelId="{AC513082-11DE-4851-9CD5-1D75D5518309}" srcId="{771AF7B4-C8D8-4616-A2B7-5F9CAC081CB7}" destId="{124D71EF-1890-4B20-8144-9786416977BA}" srcOrd="10" destOrd="0" parTransId="{3E9CD349-4ABC-44E5-B261-A886F20A205E}" sibTransId="{F6EF60A4-8B6E-40A1-A041-47ECCFCC521D}"/>
    <dgm:cxn modelId="{55560785-926E-B54C-A41A-2B8F6CEBC96C}" type="presOf" srcId="{FC37ED9B-8338-4944-B9D9-1A9B2CC315E1}" destId="{541090A3-35AC-4C84-B2CC-096EEEDCEA1E}" srcOrd="0" destOrd="0" presId="urn:microsoft.com/office/officeart/2009/3/layout/SubStepProcess"/>
    <dgm:cxn modelId="{E3825C85-4ECD-4A46-8788-B2F77C2E5339}" srcId="{ED9B2AA3-B886-4718-9515-BD25C877AC91}" destId="{07F60B7E-FEC6-49B4-B64F-85D78C21459E}" srcOrd="3" destOrd="0" parTransId="{7A5E3FCA-05AE-417D-8D3D-90D5F1E050FB}" sibTransId="{A2AB246C-2030-45C0-97EA-FE0C18C9BAB9}"/>
    <dgm:cxn modelId="{1F0B9C87-1814-0744-94DB-316404AAA5A2}" type="presOf" srcId="{7FEF55C4-D857-4E30-B13A-42E223E87049}" destId="{37A493F1-C17D-48CC-B65F-55AB9ED3DE64}" srcOrd="0" destOrd="0" presId="urn:microsoft.com/office/officeart/2009/3/layout/SubStepProcess"/>
    <dgm:cxn modelId="{870D0991-E55C-4C67-B490-940C1BB14074}" srcId="{ED9B2AA3-B886-4718-9515-BD25C877AC91}" destId="{2A38BF28-5490-496B-A96D-F3D85C6BDD1B}" srcOrd="20" destOrd="0" parTransId="{C6074B8C-DEC4-4F57-89AA-8BC58CDE6FA4}" sibTransId="{3F2FC2B1-4D6F-4631-81D0-6A8A00A25062}"/>
    <dgm:cxn modelId="{0137A393-91EB-FE4F-8258-CA243CA34DEB}" type="presOf" srcId="{E27A6E06-D669-4635-BB86-B92287B64581}" destId="{E61569D2-6C5A-4380-AB61-0E1FE232381E}" srcOrd="0" destOrd="0" presId="urn:microsoft.com/office/officeart/2009/3/layout/SubStepProcess"/>
    <dgm:cxn modelId="{5D83979B-B15B-4506-98A7-507C19FDD086}" srcId="{771AF7B4-C8D8-4616-A2B7-5F9CAC081CB7}" destId="{ED0F5C24-D527-4B40-A8E3-B57AECA0520A}" srcOrd="4" destOrd="0" parTransId="{9B468DBB-CCAA-4CC5-A8FB-32F357825EBB}" sibTransId="{4EC0A90E-96FE-4412-BF7A-891C5EDFA1DC}"/>
    <dgm:cxn modelId="{216FF09B-1F5C-4C94-BAC5-3A43B3222ED3}" srcId="{6B058896-2F27-40A8-A39A-528828759DE7}" destId="{ED9B2AA3-B886-4718-9515-BD25C877AC91}" srcOrd="0" destOrd="0" parTransId="{919EB8F8-3E1D-4320-BB26-AEC858E7D102}" sibTransId="{517A4E1B-4F1A-474B-85EA-345CDB2C710F}"/>
    <dgm:cxn modelId="{621D7C9D-C8E8-499F-82BC-2AAA536EF7F5}" srcId="{ED9B2AA3-B886-4718-9515-BD25C877AC91}" destId="{7ACFDA69-F7FF-4EBF-98C1-E6CEEA263722}" srcOrd="6" destOrd="0" parTransId="{AD3F28CE-A2F6-4708-9B12-CCECFD0D744F}" sibTransId="{4B5EAAAC-95F3-455A-A3BB-9F97E85C0CE6}"/>
    <dgm:cxn modelId="{F0D9A7A0-B5DB-49F2-AA40-599DF2A982B9}" srcId="{81AD932E-1EFE-4B07-AAAB-49C273B1FEF2}" destId="{5980077B-6B40-4C24-A9E1-AF3B13F05253}" srcOrd="3" destOrd="0" parTransId="{F5B7A93F-CFAF-486F-BB78-8D96B645E270}" sibTransId="{A2F49073-6528-4A8D-90B6-D7C56FB408A0}"/>
    <dgm:cxn modelId="{772588A2-9519-6542-A382-1F693EC71323}" type="presOf" srcId="{B949D102-2C52-4F6D-85A5-BF317065AA8C}" destId="{E1798DCD-694D-4EAE-A0B4-3181F8768637}" srcOrd="0" destOrd="0" presId="urn:microsoft.com/office/officeart/2009/3/layout/SubStepProcess"/>
    <dgm:cxn modelId="{23430FA5-4E51-CF44-A21A-9813C0DF3818}" type="presOf" srcId="{02EA5422-2475-40BA-8A21-A3761ABE1FE7}" destId="{F68BF0F4-E05F-49B2-9BF7-CA82C5CABEE0}" srcOrd="0" destOrd="0" presId="urn:microsoft.com/office/officeart/2009/3/layout/SubStepProcess"/>
    <dgm:cxn modelId="{83287AA5-6B00-4B5B-86EF-8522E5E1D77C}" srcId="{ED9B2AA3-B886-4718-9515-BD25C877AC91}" destId="{41853CCD-137A-4248-B5B8-408D7954ABA8}" srcOrd="2" destOrd="0" parTransId="{083164DA-E003-44CA-A65F-B36DAF85A5D5}" sibTransId="{92CAD904-D239-4DF7-87FD-13E6D2E48143}"/>
    <dgm:cxn modelId="{B9075FA6-3FD4-41C7-B13A-7495CFD6DD68}" srcId="{6B058896-2F27-40A8-A39A-528828759DE7}" destId="{771AF7B4-C8D8-4616-A2B7-5F9CAC081CB7}" srcOrd="1" destOrd="0" parTransId="{EAC320A3-B65B-4C3D-B7E8-7F94E3E10D10}" sibTransId="{AF44F1AF-7473-4AF2-B11E-F197B6F15B94}"/>
    <dgm:cxn modelId="{BE1DC8A6-12F3-4487-AF59-9B4E55C7B3A5}" srcId="{771AF7B4-C8D8-4616-A2B7-5F9CAC081CB7}" destId="{7590270C-96F2-4BB3-BC8F-B16D3FD94F96}" srcOrd="11" destOrd="0" parTransId="{F78838CA-03C6-4B56-A9EA-5DD1686C8EAC}" sibTransId="{805B11F4-0164-40C9-8C3E-6F2861EADFCD}"/>
    <dgm:cxn modelId="{52B374A7-D26D-471A-99D2-3BD25341595C}" srcId="{ED9B2AA3-B886-4718-9515-BD25C877AC91}" destId="{654640F8-E38E-4BF1-AEC3-DCE2A931DEDA}" srcOrd="17" destOrd="0" parTransId="{B7AD721F-9448-4C57-A52B-9E5B1CF6B8EC}" sibTransId="{F9BF3B02-58DE-4764-9577-4D62AA692A16}"/>
    <dgm:cxn modelId="{B7FAE6A9-34D8-4AB2-B70B-303052B68924}" srcId="{81AD932E-1EFE-4B07-AAAB-49C273B1FEF2}" destId="{FEB4B16B-9D24-4077-AF3F-DD7E23E73A3F}" srcOrd="0" destOrd="0" parTransId="{DC1D3EC7-66D3-4244-8BA8-6764E9E88F06}" sibTransId="{FA57C730-94F5-47CB-9AE6-9EC8475356A5}"/>
    <dgm:cxn modelId="{05D7FCAA-8D21-B144-86FA-3802036C20EE}" type="presOf" srcId="{D48D04C7-1E8F-474D-860C-7878B2F04AF7}" destId="{714789D2-B9E4-4787-B14D-5258B1A17AC1}" srcOrd="0" destOrd="0" presId="urn:microsoft.com/office/officeart/2009/3/layout/SubStepProcess"/>
    <dgm:cxn modelId="{76C454AB-D877-FB49-8116-F9986A77453F}" type="presOf" srcId="{32F64518-1872-48DA-B16B-95F2CD97BDA5}" destId="{417AF87E-BB59-4C74-8678-9DDA9B1DF720}" srcOrd="0" destOrd="0" presId="urn:microsoft.com/office/officeart/2009/3/layout/SubStepProcess"/>
    <dgm:cxn modelId="{E554B5AF-E45B-2F44-B11B-C07E55B78084}" type="presOf" srcId="{A4A4ED36-B86E-4F65-98FF-D018712E65A7}" destId="{106DD1EC-884C-4FBD-BD35-E4FF6C3FBC52}" srcOrd="0" destOrd="0" presId="urn:microsoft.com/office/officeart/2009/3/layout/SubStepProcess"/>
    <dgm:cxn modelId="{868F03B0-8CE2-AC47-A05D-B090283B5025}" type="presOf" srcId="{8D47409D-B2BD-4729-B1A6-80CCCC0837F6}" destId="{6470B1C4-D227-4720-99B1-5491213F2CB3}" srcOrd="0" destOrd="0" presId="urn:microsoft.com/office/officeart/2009/3/layout/SubStepProcess"/>
    <dgm:cxn modelId="{A239D9B0-C7D3-481B-A007-9407282D8593}" srcId="{ED9B2AA3-B886-4718-9515-BD25C877AC91}" destId="{E5C776D5-0CAD-4B6B-9424-975303162719}" srcOrd="4" destOrd="0" parTransId="{39391323-3DDC-4CE1-9A50-97C1A23CC3E8}" sibTransId="{97FD12E7-DCAE-4275-A34B-A0184A8AC0FC}"/>
    <dgm:cxn modelId="{06020AB1-9B45-4FF9-9573-510031495A14}" srcId="{ED9B2AA3-B886-4718-9515-BD25C877AC91}" destId="{E1BAD88C-3FB7-49B2-9FB0-37F77F05D2CE}" srcOrd="18" destOrd="0" parTransId="{E9985B5D-7FA2-4197-9220-1A0A1A3BAA0E}" sibTransId="{B701ACAD-2EBA-4FA4-B8F3-1CDE6C0A2675}"/>
    <dgm:cxn modelId="{CB0502B7-3804-E149-B094-9DFD19EBE2B9}" type="presOf" srcId="{81AD932E-1EFE-4B07-AAAB-49C273B1FEF2}" destId="{DA8FD566-C190-410E-B7DB-16B5A2038472}" srcOrd="0" destOrd="0" presId="urn:microsoft.com/office/officeart/2009/3/layout/SubStepProcess"/>
    <dgm:cxn modelId="{70A497B8-FA56-4F47-BA1C-B3EA30E52427}" srcId="{81AD932E-1EFE-4B07-AAAB-49C273B1FEF2}" destId="{8DB5E133-324C-4383-8123-3AAD0DECBDCF}" srcOrd="6" destOrd="0" parTransId="{B02A0E7B-C95C-42AD-9EB0-2251B989AD66}" sibTransId="{74EC1D87-B80C-424B-AA92-FD55B39E27AA}"/>
    <dgm:cxn modelId="{2D43A1B8-93F3-415A-AB21-72D2E5EA4B48}" srcId="{771AF7B4-C8D8-4616-A2B7-5F9CAC081CB7}" destId="{53609979-2DA1-4B09-9786-C7A908B3D825}" srcOrd="13" destOrd="0" parTransId="{7DDD517E-ED2C-4D32-B46A-B3E33851D950}" sibTransId="{F9000D37-5699-42E3-AE35-F547FB3D5568}"/>
    <dgm:cxn modelId="{1E560AB9-AC89-E64A-89A3-CEC01BE8839A}" type="presOf" srcId="{F6AA3461-59E5-4178-8682-DDF14570D70D}" destId="{F246A6EA-AB40-452C-BF1E-B9CFB814D62F}" srcOrd="0" destOrd="0" presId="urn:microsoft.com/office/officeart/2009/3/layout/SubStepProcess"/>
    <dgm:cxn modelId="{1815D6BA-202A-4073-AD61-F1E823A85E1A}" srcId="{ED9B2AA3-B886-4718-9515-BD25C877AC91}" destId="{050CF0AD-88D1-459F-928D-8CD2BB71B99C}" srcOrd="27" destOrd="0" parTransId="{79E8D042-158C-4C68-85A5-CBD376CBF449}" sibTransId="{C0080002-6F18-4D75-A38E-B6E6065B7812}"/>
    <dgm:cxn modelId="{314055BD-245E-C74A-BD40-A471CFCB58E9}" type="presOf" srcId="{E1BAD88C-3FB7-49B2-9FB0-37F77F05D2CE}" destId="{E2755BC3-5C32-4E8E-8D27-A5E8895EB981}" srcOrd="0" destOrd="0" presId="urn:microsoft.com/office/officeart/2009/3/layout/SubStepProcess"/>
    <dgm:cxn modelId="{91F16CBF-BF07-BD4C-872E-5A8A9039A07A}" type="presOf" srcId="{09485C8E-8C79-481C-A6A4-D5CA441597DD}" destId="{25BD17A6-3959-45DD-AD14-02F1EFD8AA63}" srcOrd="0" destOrd="0" presId="urn:microsoft.com/office/officeart/2009/3/layout/SubStepProcess"/>
    <dgm:cxn modelId="{5078AABF-9D2A-D742-A5B5-9E38672DFCAD}" type="presOf" srcId="{C37DD6F8-3C28-4B74-96AF-2091F749C42B}" destId="{87D4E799-F33F-44D6-A119-FEE201B50EFE}" srcOrd="0" destOrd="0" presId="urn:microsoft.com/office/officeart/2009/3/layout/SubStepProcess"/>
    <dgm:cxn modelId="{BC024FC0-8BA3-41B0-BC7F-DB0B236A988D}" srcId="{ED9B2AA3-B886-4718-9515-BD25C877AC91}" destId="{065E6A8E-1D64-4CBF-B46D-C72669644746}" srcOrd="22" destOrd="0" parTransId="{566BA80C-5AC5-4F7D-8569-9A3CD140EADC}" sibTransId="{14635A9A-4F64-43DE-9CF7-D7F948ABA1F5}"/>
    <dgm:cxn modelId="{241E86C4-FCAB-9F42-8167-A3D8412E62E8}" type="presOf" srcId="{2A38BF28-5490-496B-A96D-F3D85C6BDD1B}" destId="{6FC478FC-CB66-4B0E-B9B1-619DCD209D81}" srcOrd="0" destOrd="0" presId="urn:microsoft.com/office/officeart/2009/3/layout/SubStepProcess"/>
    <dgm:cxn modelId="{381BA6C4-28AC-EC45-B8CF-320628A1118B}" type="presOf" srcId="{F50E0E87-F0DD-412B-B012-CF0CC022CF9C}" destId="{E6B5E9DC-7D21-4D12-BE0F-46BA1636B65D}" srcOrd="0" destOrd="0" presId="urn:microsoft.com/office/officeart/2009/3/layout/SubStepProcess"/>
    <dgm:cxn modelId="{036FD4C4-2A16-F946-800C-44AF2C36A174}" type="presOf" srcId="{60F0E2C0-A35A-47A1-A177-D4F84F7776F7}" destId="{63FE4589-E40A-4563-B997-AC9F09C77F87}" srcOrd="0" destOrd="0" presId="urn:microsoft.com/office/officeart/2009/3/layout/SubStepProcess"/>
    <dgm:cxn modelId="{65331EC5-E89C-624C-A570-87FB6891EDD4}" type="presOf" srcId="{065E6A8E-1D64-4CBF-B46D-C72669644746}" destId="{358FAFAC-9EC0-4849-93E0-72C63081B0E3}" srcOrd="0" destOrd="0" presId="urn:microsoft.com/office/officeart/2009/3/layout/SubStepProcess"/>
    <dgm:cxn modelId="{A4CE8FC8-F19C-0744-8253-EC9751760B68}" type="presOf" srcId="{2AA5FE31-A530-40F8-96E3-32233042BEF6}" destId="{43160C9B-1062-4C39-B3E4-A8D8F037D27C}" srcOrd="0" destOrd="0" presId="urn:microsoft.com/office/officeart/2009/3/layout/SubStepProcess"/>
    <dgm:cxn modelId="{5C09A4CC-9ED5-194F-8E95-FE033526C574}" type="presOf" srcId="{ED0F5C24-D527-4B40-A8E3-B57AECA0520A}" destId="{A8BA4F54-3851-45E2-A0C3-A983235BD595}" srcOrd="0" destOrd="0" presId="urn:microsoft.com/office/officeart/2009/3/layout/SubStepProcess"/>
    <dgm:cxn modelId="{0CB641CE-2E5A-5747-99FB-E19C16E782AC}" type="presOf" srcId="{771AF7B4-C8D8-4616-A2B7-5F9CAC081CB7}" destId="{A9EFC1D7-8BE1-4F2D-8701-5971C8236BF1}" srcOrd="0" destOrd="0" presId="urn:microsoft.com/office/officeart/2009/3/layout/SubStepProcess"/>
    <dgm:cxn modelId="{8E8279D0-BB5F-4343-BDA2-59134A875ED6}" type="presOf" srcId="{050CF0AD-88D1-459F-928D-8CD2BB71B99C}" destId="{6B834583-E167-44CC-A079-504B3DD94979}" srcOrd="0" destOrd="0" presId="urn:microsoft.com/office/officeart/2009/3/layout/SubStepProcess"/>
    <dgm:cxn modelId="{D3D903D3-8EFA-4A22-95AF-139BD1C6195D}" srcId="{81AD932E-1EFE-4B07-AAAB-49C273B1FEF2}" destId="{D15C9986-12BF-421B-A306-FED6DED62317}" srcOrd="10" destOrd="0" parTransId="{312BBC4A-71BA-4FF1-A7AF-4BD8B3617FD4}" sibTransId="{E6B8F899-C4DA-412C-94C7-19E515BDC815}"/>
    <dgm:cxn modelId="{1AA2CDD4-436F-C440-A9EF-FFED0C92BF96}" type="presOf" srcId="{5980077B-6B40-4C24-A9E1-AF3B13F05253}" destId="{F7D25597-FDBB-4AFE-AAFE-FD21BDA13AD7}" srcOrd="0" destOrd="0" presId="urn:microsoft.com/office/officeart/2009/3/layout/SubStepProcess"/>
    <dgm:cxn modelId="{3A9349D5-2243-304A-81C3-DC6497071CA9}" type="presOf" srcId="{53609979-2DA1-4B09-9786-C7A908B3D825}" destId="{A431DF09-13B3-4AE8-A20D-802BED35180E}" srcOrd="0" destOrd="0" presId="urn:microsoft.com/office/officeart/2009/3/layout/SubStepProcess"/>
    <dgm:cxn modelId="{6F5D91DC-99C8-244B-9C84-78EE87865A5A}" type="presOf" srcId="{BC5A8ACA-8AA1-4E7A-944E-0D81BEC1F0B9}" destId="{C4B685D8-9A68-4D57-9A00-00E6DFD2A60F}" srcOrd="0" destOrd="0" presId="urn:microsoft.com/office/officeart/2009/3/layout/SubStepProcess"/>
    <dgm:cxn modelId="{2DBF49DE-9094-624A-B83A-8E7E51212A37}" type="presOf" srcId="{41853CCD-137A-4248-B5B8-408D7954ABA8}" destId="{A56E14CA-CB8A-44E5-938D-027CC7815CF4}" srcOrd="0" destOrd="0" presId="urn:microsoft.com/office/officeart/2009/3/layout/SubStepProcess"/>
    <dgm:cxn modelId="{E1C611DF-698C-D249-8D78-EBD431DE010D}" type="presOf" srcId="{4B6E1CA3-194A-4E02-AC41-93FA6D3C17FC}" destId="{9A89883E-8CD2-4D92-A079-C5204C130121}" srcOrd="0" destOrd="0" presId="urn:microsoft.com/office/officeart/2009/3/layout/SubStepProcess"/>
    <dgm:cxn modelId="{A7E78AE0-EAD4-D647-B67F-688B240D4F2A}" type="presOf" srcId="{FFE21F60-2745-4019-A3D8-A7858D2C5D3F}" destId="{FE3A7CA5-5C5B-4353-A281-AA50CB5463DE}" srcOrd="0" destOrd="0" presId="urn:microsoft.com/office/officeart/2009/3/layout/SubStepProcess"/>
    <dgm:cxn modelId="{30D652E1-78E6-4D87-B694-127CBEC8F69E}" srcId="{ED9B2AA3-B886-4718-9515-BD25C877AC91}" destId="{32F64518-1872-48DA-B16B-95F2CD97BDA5}" srcOrd="24" destOrd="0" parTransId="{68318F9A-070B-4964-B8BA-1B94381DB73C}" sibTransId="{0CC724CD-02B0-4D7E-8427-335A92A74E26}"/>
    <dgm:cxn modelId="{253D4DE5-2AB6-C841-8EAB-1758C09EE971}" type="presOf" srcId="{5A1F7174-7B30-4AE6-AD8C-5245CD333DED}" destId="{8EFFBA7C-B9F8-4FEF-9991-5B78258EC781}" srcOrd="0" destOrd="0" presId="urn:microsoft.com/office/officeart/2009/3/layout/SubStepProcess"/>
    <dgm:cxn modelId="{22538FE6-3E2C-4DF6-B9F6-520B0EBCBAA7}" srcId="{771AF7B4-C8D8-4616-A2B7-5F9CAC081CB7}" destId="{DD6DD099-67BA-4BDD-9CF0-FDA7C124D7C1}" srcOrd="1" destOrd="0" parTransId="{DC41D32F-7382-4D7D-8A2A-5D69DC6E586B}" sibTransId="{FC857F6B-BAA2-4C7D-9D24-EED90B2AC125}"/>
    <dgm:cxn modelId="{3517AAE6-5E0B-4BD9-9925-4A9408751873}" srcId="{771AF7B4-C8D8-4616-A2B7-5F9CAC081CB7}" destId="{D48D04C7-1E8F-474D-860C-7878B2F04AF7}" srcOrd="9" destOrd="0" parTransId="{B57B327C-7FFD-4520-990F-3E1F7AB347CB}" sibTransId="{35C2008A-1A1D-4001-BB82-C41120761628}"/>
    <dgm:cxn modelId="{9A733DE9-6C01-43DA-8447-8FB3F4DA4C24}" srcId="{81AD932E-1EFE-4B07-AAAB-49C273B1FEF2}" destId="{D00BDA0F-5677-43D2-9C73-92A9B5451503}" srcOrd="7" destOrd="0" parTransId="{699BF82E-B111-4ACB-92AB-ED955BAEF79B}" sibTransId="{B71B0389-723B-4316-BA22-60D793A34195}"/>
    <dgm:cxn modelId="{3343FCEB-E132-4139-B19A-D38084B44944}" srcId="{ED9B2AA3-B886-4718-9515-BD25C877AC91}" destId="{78F3C406-E349-4E08-A644-4C711389428C}" srcOrd="8" destOrd="0" parTransId="{53BFC04B-E4BB-4766-81C8-271B79BE8E37}" sibTransId="{D73E6A01-B8FC-4952-82C0-46928FF34849}"/>
    <dgm:cxn modelId="{33278CEC-2EEE-456E-A2B2-DC9708D5E4AB}" srcId="{6B058896-2F27-40A8-A39A-528828759DE7}" destId="{0947A48E-BDEA-46BC-B8EB-5CD78FF7026F}" srcOrd="3" destOrd="0" parTransId="{9301DC11-9034-4596-90E5-BF57E29BA91B}" sibTransId="{1B857044-6C87-4473-BAED-B9C7C7DB2B4F}"/>
    <dgm:cxn modelId="{E9AFDDF0-B8BA-4854-8FFF-FB048473DBCD}" srcId="{771AF7B4-C8D8-4616-A2B7-5F9CAC081CB7}" destId="{1C9B8ACF-6C3E-4CA5-A077-34F00D9B846D}" srcOrd="12" destOrd="0" parTransId="{D012DA67-4839-4EBC-923C-C5D5E2B03FBB}" sibTransId="{E68F6961-E5F5-41CA-84AD-CAF735C30FFB}"/>
    <dgm:cxn modelId="{92F6EEF7-70CD-4442-B097-CF4CD411F692}" type="presOf" srcId="{7590270C-96F2-4BB3-BC8F-B16D3FD94F96}" destId="{2646FB80-5482-41EA-991C-700E1BEAE988}" srcOrd="0" destOrd="0" presId="urn:microsoft.com/office/officeart/2009/3/layout/SubStepProcess"/>
    <dgm:cxn modelId="{1C19F4F7-25DC-714E-8B68-5A203CB297B3}" type="presOf" srcId="{D0F58FD9-C79D-40AA-9A3D-BBD6A6043CA8}" destId="{E2F9B266-EE48-466A-A1F3-11713587B77B}" srcOrd="0" destOrd="0" presId="urn:microsoft.com/office/officeart/2009/3/layout/SubStepProcess"/>
    <dgm:cxn modelId="{4C944CF8-3A72-4039-9AD1-D62D4D1286E8}" srcId="{81AD932E-1EFE-4B07-AAAB-49C273B1FEF2}" destId="{E9C4DEF3-9170-4FE6-B7DE-649F4DF90271}" srcOrd="9" destOrd="0" parTransId="{B4326B02-4A74-413A-8151-B20674E3FDEE}" sibTransId="{031D05D3-9DF9-406D-8D2A-EB504D2F4B6F}"/>
    <dgm:cxn modelId="{711461FB-DD2C-CD4C-A82B-889ECFE1118F}" type="presOf" srcId="{04F48DAA-3773-4540-9C75-C3CB69AEA724}" destId="{0B0A04DB-7585-466A-A7E2-B7368ACE728D}" srcOrd="0" destOrd="0" presId="urn:microsoft.com/office/officeart/2009/3/layout/SubStepProcess"/>
    <dgm:cxn modelId="{62E09D5F-A5A9-184A-9ADD-A214674B7D03}" type="presParOf" srcId="{B1344875-4773-4F11-BEC4-69EFB76B7E5F}" destId="{1366FEE6-18BF-4FBA-9CBA-BDE478DB8E85}" srcOrd="0" destOrd="0" presId="urn:microsoft.com/office/officeart/2009/3/layout/SubStepProcess"/>
    <dgm:cxn modelId="{534A7C2D-A401-8E4F-9013-20A265EB080D}" type="presParOf" srcId="{B1344875-4773-4F11-BEC4-69EFB76B7E5F}" destId="{32843EA3-3241-4A7A-BF7D-AA4BF511F6A8}" srcOrd="1" destOrd="0" presId="urn:microsoft.com/office/officeart/2009/3/layout/SubStepProcess"/>
    <dgm:cxn modelId="{E972EA2D-46A6-4F45-BF5E-89F80209ECEF}" type="presParOf" srcId="{B1344875-4773-4F11-BEC4-69EFB76B7E5F}" destId="{20F558B3-62D1-442A-8F6D-02081418AEE5}" srcOrd="2" destOrd="0" presId="urn:microsoft.com/office/officeart/2009/3/layout/SubStepProcess"/>
    <dgm:cxn modelId="{DA8E3C50-55D4-8141-AA7E-830247139252}" type="presParOf" srcId="{20F558B3-62D1-442A-8F6D-02081418AEE5}" destId="{58F7E63D-8453-4265-94D4-A69268DA60FD}" srcOrd="0" destOrd="0" presId="urn:microsoft.com/office/officeart/2009/3/layout/SubStepProcess"/>
    <dgm:cxn modelId="{6318EE7E-B0BE-7A4E-9A44-B166B7CACA7D}" type="presParOf" srcId="{20F558B3-62D1-442A-8F6D-02081418AEE5}" destId="{B13BC29D-1B95-45E2-9354-894505535681}" srcOrd="1" destOrd="0" presId="urn:microsoft.com/office/officeart/2009/3/layout/SubStepProcess"/>
    <dgm:cxn modelId="{B1CB66B0-CD1D-E24E-A2A9-EAFF8F7C8FB2}" type="presParOf" srcId="{20F558B3-62D1-442A-8F6D-02081418AEE5}" destId="{A4775A3B-F4D6-4BBB-9E28-75D9E8D72F06}" srcOrd="2" destOrd="0" presId="urn:microsoft.com/office/officeart/2009/3/layout/SubStepProcess"/>
    <dgm:cxn modelId="{49B4F55A-7E91-0342-BD0C-89EB9D2C07FE}" type="presParOf" srcId="{A4775A3B-F4D6-4BBB-9E28-75D9E8D72F06}" destId="{63C476A8-3006-4533-94D7-5CAECFBEB781}" srcOrd="0" destOrd="0" presId="urn:microsoft.com/office/officeart/2009/3/layout/SubStepProcess"/>
    <dgm:cxn modelId="{9DAED19F-C17B-1B45-8E49-0216EEDCDA66}" type="presParOf" srcId="{A4775A3B-F4D6-4BBB-9E28-75D9E8D72F06}" destId="{72BD4A2C-082D-4DFF-AACD-E13FD45358F9}" srcOrd="1" destOrd="0" presId="urn:microsoft.com/office/officeart/2009/3/layout/SubStepProcess"/>
    <dgm:cxn modelId="{2C244DB8-13CE-BD40-8A40-62E3628B95BC}" type="presParOf" srcId="{A4775A3B-F4D6-4BBB-9E28-75D9E8D72F06}" destId="{6D931BFD-FAAF-461F-9CFF-FD1A80490E11}" srcOrd="2" destOrd="0" presId="urn:microsoft.com/office/officeart/2009/3/layout/SubStepProcess"/>
    <dgm:cxn modelId="{CFB70EAA-0608-E049-B127-A7111AA7810D}" type="presParOf" srcId="{A4775A3B-F4D6-4BBB-9E28-75D9E8D72F06}" destId="{541090A3-35AC-4C84-B2CC-096EEEDCEA1E}" srcOrd="3" destOrd="0" presId="urn:microsoft.com/office/officeart/2009/3/layout/SubStepProcess"/>
    <dgm:cxn modelId="{F35FA7DD-7EC6-4F47-9745-9E9CE601F31D}" type="presParOf" srcId="{A4775A3B-F4D6-4BBB-9E28-75D9E8D72F06}" destId="{3B1BFC5C-0A69-426B-ABF3-2CE636A77C17}" srcOrd="4" destOrd="0" presId="urn:microsoft.com/office/officeart/2009/3/layout/SubStepProcess"/>
    <dgm:cxn modelId="{32981C9B-D180-DF42-AC82-8F4070C6EB7D}" type="presParOf" srcId="{20F558B3-62D1-442A-8F6D-02081418AEE5}" destId="{FD3380D8-F134-4AD2-A621-32C1DEA3672D}" srcOrd="3" destOrd="0" presId="urn:microsoft.com/office/officeart/2009/3/layout/SubStepProcess"/>
    <dgm:cxn modelId="{ABEDD694-D2FA-7246-B01C-D972550C6F31}" type="presParOf" srcId="{20F558B3-62D1-442A-8F6D-02081418AEE5}" destId="{2A38597A-D87E-4DC6-9FC8-8484227EEBFD}" srcOrd="4" destOrd="0" presId="urn:microsoft.com/office/officeart/2009/3/layout/SubStepProcess"/>
    <dgm:cxn modelId="{E50964E8-CA4A-C146-B230-054F39AF5786}" type="presParOf" srcId="{20F558B3-62D1-442A-8F6D-02081418AEE5}" destId="{DEB661CE-DD1C-4688-A30C-401F8E39670B}" srcOrd="5" destOrd="0" presId="urn:microsoft.com/office/officeart/2009/3/layout/SubStepProcess"/>
    <dgm:cxn modelId="{55F7F6EA-E54D-8846-8556-2AA0E80EB9D5}" type="presParOf" srcId="{DEB661CE-DD1C-4688-A30C-401F8E39670B}" destId="{059C1C81-97E1-43BD-B705-4ACBD793DDCD}" srcOrd="0" destOrd="0" presId="urn:microsoft.com/office/officeart/2009/3/layout/SubStepProcess"/>
    <dgm:cxn modelId="{D7C618C6-7537-9642-B055-A87C27DEC860}" type="presParOf" srcId="{DEB661CE-DD1C-4688-A30C-401F8E39670B}" destId="{3F308BDD-CF95-4592-9B7A-33608BFC2CD4}" srcOrd="1" destOrd="0" presId="urn:microsoft.com/office/officeart/2009/3/layout/SubStepProcess"/>
    <dgm:cxn modelId="{13242CF2-6F0A-5C4E-B89A-7B9D5F23C4A1}" type="presParOf" srcId="{DEB661CE-DD1C-4688-A30C-401F8E39670B}" destId="{C3AA3542-4CF9-49EF-8903-7BB43849E1D0}" srcOrd="2" destOrd="0" presId="urn:microsoft.com/office/officeart/2009/3/layout/SubStepProcess"/>
    <dgm:cxn modelId="{A0521E26-7590-D644-813D-494573124C9D}" type="presParOf" srcId="{DEB661CE-DD1C-4688-A30C-401F8E39670B}" destId="{F82E1769-B4D9-4591-9AE2-7D6939AF515F}" srcOrd="3" destOrd="0" presId="urn:microsoft.com/office/officeart/2009/3/layout/SubStepProcess"/>
    <dgm:cxn modelId="{FD5A1DEC-3433-554E-9013-BF7A20A31982}" type="presParOf" srcId="{DEB661CE-DD1C-4688-A30C-401F8E39670B}" destId="{7AF3F0A1-6F3B-43A9-983A-2FEE9CD0FB18}" srcOrd="4" destOrd="0" presId="urn:microsoft.com/office/officeart/2009/3/layout/SubStepProcess"/>
    <dgm:cxn modelId="{FFBEE616-9484-3F49-99FB-23BE8DF73A8D}" type="presParOf" srcId="{20F558B3-62D1-442A-8F6D-02081418AEE5}" destId="{6876FACF-268E-44C5-B91F-0935F77BC323}" srcOrd="6" destOrd="0" presId="urn:microsoft.com/office/officeart/2009/3/layout/SubStepProcess"/>
    <dgm:cxn modelId="{6E1D4C7F-CC93-6748-ADAD-894102A7BEAE}" type="presParOf" srcId="{20F558B3-62D1-442A-8F6D-02081418AEE5}" destId="{D1AB7538-21AF-41FA-B68A-01FE4D37F394}" srcOrd="7" destOrd="0" presId="urn:microsoft.com/office/officeart/2009/3/layout/SubStepProcess"/>
    <dgm:cxn modelId="{1D13ED0C-8F78-C849-B3C0-38C76E2733B5}" type="presParOf" srcId="{20F558B3-62D1-442A-8F6D-02081418AEE5}" destId="{84DCA7D1-C226-4510-BC84-413B011DDF66}" srcOrd="8" destOrd="0" presId="urn:microsoft.com/office/officeart/2009/3/layout/SubStepProcess"/>
    <dgm:cxn modelId="{9BB22CE8-9DD7-9D47-8533-67C209773A7A}" type="presParOf" srcId="{84DCA7D1-C226-4510-BC84-413B011DDF66}" destId="{D6BBCB42-5FCC-4BFA-972C-66207CFDDF7D}" srcOrd="0" destOrd="0" presId="urn:microsoft.com/office/officeart/2009/3/layout/SubStepProcess"/>
    <dgm:cxn modelId="{42125359-9313-2D46-879A-4E7D7722D76A}" type="presParOf" srcId="{84DCA7D1-C226-4510-BC84-413B011DDF66}" destId="{66D6A1F2-FD3E-4B00-A9DE-6DCBAEC6B002}" srcOrd="1" destOrd="0" presId="urn:microsoft.com/office/officeart/2009/3/layout/SubStepProcess"/>
    <dgm:cxn modelId="{68CD9E18-B7C4-EE46-83D8-497CDA3FD9C7}" type="presParOf" srcId="{84DCA7D1-C226-4510-BC84-413B011DDF66}" destId="{DC28644F-3F10-4CA1-A491-E2C871259517}" srcOrd="2" destOrd="0" presId="urn:microsoft.com/office/officeart/2009/3/layout/SubStepProcess"/>
    <dgm:cxn modelId="{1DDD4782-770E-BF44-B0D5-F26957588DFC}" type="presParOf" srcId="{84DCA7D1-C226-4510-BC84-413B011DDF66}" destId="{A56E14CA-CB8A-44E5-938D-027CC7815CF4}" srcOrd="3" destOrd="0" presId="urn:microsoft.com/office/officeart/2009/3/layout/SubStepProcess"/>
    <dgm:cxn modelId="{0931A571-28A0-264C-87C8-990E3F845FBE}" type="presParOf" srcId="{84DCA7D1-C226-4510-BC84-413B011DDF66}" destId="{8630DA2A-038F-4ABF-B38E-0EA5DA02FC36}" srcOrd="4" destOrd="0" presId="urn:microsoft.com/office/officeart/2009/3/layout/SubStepProcess"/>
    <dgm:cxn modelId="{C0AD9D05-1339-5442-971A-73E8C40FFB1E}" type="presParOf" srcId="{20F558B3-62D1-442A-8F6D-02081418AEE5}" destId="{BFA03A57-57E9-456A-9D9A-863E37B5A613}" srcOrd="9" destOrd="0" presId="urn:microsoft.com/office/officeart/2009/3/layout/SubStepProcess"/>
    <dgm:cxn modelId="{6084D394-5C3D-8348-A6D0-19A62DABB79C}" type="presParOf" srcId="{20F558B3-62D1-442A-8F6D-02081418AEE5}" destId="{BC258F88-FFD4-4E87-8C3D-FBCE6D006A7F}" srcOrd="10" destOrd="0" presId="urn:microsoft.com/office/officeart/2009/3/layout/SubStepProcess"/>
    <dgm:cxn modelId="{D92D1BBB-DEE3-F347-89DA-FA3B8EA3508C}" type="presParOf" srcId="{20F558B3-62D1-442A-8F6D-02081418AEE5}" destId="{6C02EF52-048B-4897-B171-B84548B9685D}" srcOrd="11" destOrd="0" presId="urn:microsoft.com/office/officeart/2009/3/layout/SubStepProcess"/>
    <dgm:cxn modelId="{589F9D2F-8089-9A4F-B516-8F5A683529BF}" type="presParOf" srcId="{6C02EF52-048B-4897-B171-B84548B9685D}" destId="{4B0D67AF-9FAE-4889-AB0E-80939E285FBF}" srcOrd="0" destOrd="0" presId="urn:microsoft.com/office/officeart/2009/3/layout/SubStepProcess"/>
    <dgm:cxn modelId="{8778577D-009F-0440-9E9F-80BC14338D0D}" type="presParOf" srcId="{6C02EF52-048B-4897-B171-B84548B9685D}" destId="{99BAED0B-62FC-4F63-971D-E3CB8CBFA3A7}" srcOrd="1" destOrd="0" presId="urn:microsoft.com/office/officeart/2009/3/layout/SubStepProcess"/>
    <dgm:cxn modelId="{6ACA6303-74EA-8F46-9DCE-8DA7AB8392A1}" type="presParOf" srcId="{6C02EF52-048B-4897-B171-B84548B9685D}" destId="{4FE000F4-F522-4E41-A4FB-821053A1F4A6}" srcOrd="2" destOrd="0" presId="urn:microsoft.com/office/officeart/2009/3/layout/SubStepProcess"/>
    <dgm:cxn modelId="{6F361F53-A2C4-E248-A761-B5ADAB774428}" type="presParOf" srcId="{6C02EF52-048B-4897-B171-B84548B9685D}" destId="{263A2AC7-A989-4575-9E10-487E49679FBB}" srcOrd="3" destOrd="0" presId="urn:microsoft.com/office/officeart/2009/3/layout/SubStepProcess"/>
    <dgm:cxn modelId="{C06B171B-975D-444A-8A81-0A120D5E4E24}" type="presParOf" srcId="{6C02EF52-048B-4897-B171-B84548B9685D}" destId="{4B52820F-72FA-4FA7-A93C-2E42C3BE1B96}" srcOrd="4" destOrd="0" presId="urn:microsoft.com/office/officeart/2009/3/layout/SubStepProcess"/>
    <dgm:cxn modelId="{31FCBAD8-6665-2444-ADE7-7FBA3BD87354}" type="presParOf" srcId="{20F558B3-62D1-442A-8F6D-02081418AEE5}" destId="{0FFE6151-404F-40DE-A5B0-7D292580A594}" srcOrd="12" destOrd="0" presId="urn:microsoft.com/office/officeart/2009/3/layout/SubStepProcess"/>
    <dgm:cxn modelId="{CA822B3E-6E1C-A54C-A335-0B90B81FE085}" type="presParOf" srcId="{20F558B3-62D1-442A-8F6D-02081418AEE5}" destId="{6C368D13-8814-46DB-9AEC-05548F8AB4CA}" srcOrd="13" destOrd="0" presId="urn:microsoft.com/office/officeart/2009/3/layout/SubStepProcess"/>
    <dgm:cxn modelId="{E022FFE5-1B4C-3842-9065-178664780037}" type="presParOf" srcId="{20F558B3-62D1-442A-8F6D-02081418AEE5}" destId="{7231DBD2-5FF1-4118-9639-067CE93D5B13}" srcOrd="14" destOrd="0" presId="urn:microsoft.com/office/officeart/2009/3/layout/SubStepProcess"/>
    <dgm:cxn modelId="{44B638BE-EEFD-FF42-83FD-370924D41892}" type="presParOf" srcId="{7231DBD2-5FF1-4118-9639-067CE93D5B13}" destId="{ACFB33D8-5108-462B-B250-7021552F1FEE}" srcOrd="0" destOrd="0" presId="urn:microsoft.com/office/officeart/2009/3/layout/SubStepProcess"/>
    <dgm:cxn modelId="{DCC01794-9FBF-C34C-BBCA-9645206585D1}" type="presParOf" srcId="{7231DBD2-5FF1-4118-9639-067CE93D5B13}" destId="{CA9CDAAF-42FD-4510-AD49-0DDC4CA6634B}" srcOrd="1" destOrd="0" presId="urn:microsoft.com/office/officeart/2009/3/layout/SubStepProcess"/>
    <dgm:cxn modelId="{8AF18BB8-95E5-BD40-97D8-E415D5E55B5D}" type="presParOf" srcId="{7231DBD2-5FF1-4118-9639-067CE93D5B13}" destId="{EEE83811-916D-4CCD-AD5D-AE2AE0226975}" srcOrd="2" destOrd="0" presId="urn:microsoft.com/office/officeart/2009/3/layout/SubStepProcess"/>
    <dgm:cxn modelId="{5D2EDB0C-F547-1A42-A1C9-7D1562E00A4D}" type="presParOf" srcId="{7231DBD2-5FF1-4118-9639-067CE93D5B13}" destId="{A67310D7-CEC2-4430-BCD1-94A8B50FF451}" srcOrd="3" destOrd="0" presId="urn:microsoft.com/office/officeart/2009/3/layout/SubStepProcess"/>
    <dgm:cxn modelId="{300DBF4C-AC2A-854A-890A-D0A91B3EDEDA}" type="presParOf" srcId="{7231DBD2-5FF1-4118-9639-067CE93D5B13}" destId="{098C2267-7960-4D0D-95FB-AA72F3F11855}" srcOrd="4" destOrd="0" presId="urn:microsoft.com/office/officeart/2009/3/layout/SubStepProcess"/>
    <dgm:cxn modelId="{669A3891-2330-4245-97C6-4ABF41999324}" type="presParOf" srcId="{20F558B3-62D1-442A-8F6D-02081418AEE5}" destId="{CB97FF2C-71DC-4E68-8DD0-952A223D8FAA}" srcOrd="15" destOrd="0" presId="urn:microsoft.com/office/officeart/2009/3/layout/SubStepProcess"/>
    <dgm:cxn modelId="{14E002C5-EB0F-CE4B-AD32-74BA2D1E8801}" type="presParOf" srcId="{20F558B3-62D1-442A-8F6D-02081418AEE5}" destId="{4EE7D7FC-87EB-4AA9-B862-433E22C62F58}" srcOrd="16" destOrd="0" presId="urn:microsoft.com/office/officeart/2009/3/layout/SubStepProcess"/>
    <dgm:cxn modelId="{DA82EB09-DD4D-614B-ADEA-0D6695E825EA}" type="presParOf" srcId="{20F558B3-62D1-442A-8F6D-02081418AEE5}" destId="{FD52C6FB-52C5-4ED8-A103-A887194AE919}" srcOrd="17" destOrd="0" presId="urn:microsoft.com/office/officeart/2009/3/layout/SubStepProcess"/>
    <dgm:cxn modelId="{86D53AE0-8DD1-DB42-BADA-B2181C09A9B2}" type="presParOf" srcId="{FD52C6FB-52C5-4ED8-A103-A887194AE919}" destId="{885AC5A5-E7EE-4EF2-B8EF-F7131B5BC058}" srcOrd="0" destOrd="0" presId="urn:microsoft.com/office/officeart/2009/3/layout/SubStepProcess"/>
    <dgm:cxn modelId="{E4800314-26FF-2445-81B1-E74EC4210695}" type="presParOf" srcId="{FD52C6FB-52C5-4ED8-A103-A887194AE919}" destId="{67E4F6F6-4353-4A12-BF64-68A2352DB1B6}" srcOrd="1" destOrd="0" presId="urn:microsoft.com/office/officeart/2009/3/layout/SubStepProcess"/>
    <dgm:cxn modelId="{6A44045F-AD76-934C-B0BB-443A4AC76620}" type="presParOf" srcId="{FD52C6FB-52C5-4ED8-A103-A887194AE919}" destId="{BA6DE021-B7DD-4207-9B3C-DF9DB7DC1BDD}" srcOrd="2" destOrd="0" presId="urn:microsoft.com/office/officeart/2009/3/layout/SubStepProcess"/>
    <dgm:cxn modelId="{8E5DB177-C606-C04B-A006-72591F64184E}" type="presParOf" srcId="{FD52C6FB-52C5-4ED8-A103-A887194AE919}" destId="{106DD1EC-884C-4FBD-BD35-E4FF6C3FBC52}" srcOrd="3" destOrd="0" presId="urn:microsoft.com/office/officeart/2009/3/layout/SubStepProcess"/>
    <dgm:cxn modelId="{8C332067-05AF-6940-BE2A-0CF8B8848E16}" type="presParOf" srcId="{FD52C6FB-52C5-4ED8-A103-A887194AE919}" destId="{93389018-FF37-4A3D-8285-D49A27391478}" srcOrd="4" destOrd="0" presId="urn:microsoft.com/office/officeart/2009/3/layout/SubStepProcess"/>
    <dgm:cxn modelId="{16307DD4-50D7-4F41-8666-F37FCC1CA0E9}" type="presParOf" srcId="{20F558B3-62D1-442A-8F6D-02081418AEE5}" destId="{75E83EFA-1CF1-4743-B1D8-5832EE146CD2}" srcOrd="18" destOrd="0" presId="urn:microsoft.com/office/officeart/2009/3/layout/SubStepProcess"/>
    <dgm:cxn modelId="{D81DCE19-33E7-484E-A76A-E6EC5D21CF64}" type="presParOf" srcId="{20F558B3-62D1-442A-8F6D-02081418AEE5}" destId="{C54C16E2-F563-44DA-9F3F-FA3996C9A9B0}" srcOrd="19" destOrd="0" presId="urn:microsoft.com/office/officeart/2009/3/layout/SubStepProcess"/>
    <dgm:cxn modelId="{25CBEB33-CCB4-CE41-8188-D7BA788B66C4}" type="presParOf" srcId="{20F558B3-62D1-442A-8F6D-02081418AEE5}" destId="{1D51A88E-6E2E-41D8-AF2D-39BDF317109F}" srcOrd="20" destOrd="0" presId="urn:microsoft.com/office/officeart/2009/3/layout/SubStepProcess"/>
    <dgm:cxn modelId="{C3994B6F-0756-5047-A91E-BB31FA60EACD}" type="presParOf" srcId="{1D51A88E-6E2E-41D8-AF2D-39BDF317109F}" destId="{7789DB64-F036-4A6B-A7F4-2EDA87B585AE}" srcOrd="0" destOrd="0" presId="urn:microsoft.com/office/officeart/2009/3/layout/SubStepProcess"/>
    <dgm:cxn modelId="{2A3D653B-C756-E74B-8F5B-343425B03C49}" type="presParOf" srcId="{1D51A88E-6E2E-41D8-AF2D-39BDF317109F}" destId="{909175AA-4DA8-422D-9647-3C187C6D6FE9}" srcOrd="1" destOrd="0" presId="urn:microsoft.com/office/officeart/2009/3/layout/SubStepProcess"/>
    <dgm:cxn modelId="{29608624-722A-B04A-A88E-15F1370E6560}" type="presParOf" srcId="{1D51A88E-6E2E-41D8-AF2D-39BDF317109F}" destId="{E536077C-FD90-4215-A2BB-73E3BFFDF7A7}" srcOrd="2" destOrd="0" presId="urn:microsoft.com/office/officeart/2009/3/layout/SubStepProcess"/>
    <dgm:cxn modelId="{D267DA54-4800-9144-9CD8-695366D0362E}" type="presParOf" srcId="{1D51A88E-6E2E-41D8-AF2D-39BDF317109F}" destId="{048DC5AB-1F21-4864-A935-685345AC4C7A}" srcOrd="3" destOrd="0" presId="urn:microsoft.com/office/officeart/2009/3/layout/SubStepProcess"/>
    <dgm:cxn modelId="{AA51B707-C3A9-814E-A370-68BB26FB5700}" type="presParOf" srcId="{1D51A88E-6E2E-41D8-AF2D-39BDF317109F}" destId="{7778B0C1-FAEF-40AC-AE9B-D67FFC041E1B}" srcOrd="4" destOrd="0" presId="urn:microsoft.com/office/officeart/2009/3/layout/SubStepProcess"/>
    <dgm:cxn modelId="{76C4D699-C552-674C-A1EB-C4BF949C30B8}" type="presParOf" srcId="{20F558B3-62D1-442A-8F6D-02081418AEE5}" destId="{AE11642D-86BB-4DF0-8C83-9172190BCDF7}" srcOrd="21" destOrd="0" presId="urn:microsoft.com/office/officeart/2009/3/layout/SubStepProcess"/>
    <dgm:cxn modelId="{3909CEBA-3810-364C-9291-DB79E749E25D}" type="presParOf" srcId="{20F558B3-62D1-442A-8F6D-02081418AEE5}" destId="{8824159B-DE19-4A59-BBAA-E078C37AE88A}" srcOrd="22" destOrd="0" presId="urn:microsoft.com/office/officeart/2009/3/layout/SubStepProcess"/>
    <dgm:cxn modelId="{4DE514D6-6AAA-3D41-8A54-55790C581B9A}" type="presParOf" srcId="{20F558B3-62D1-442A-8F6D-02081418AEE5}" destId="{D6F1919A-D797-47A3-A09F-27C20BFA683C}" srcOrd="23" destOrd="0" presId="urn:microsoft.com/office/officeart/2009/3/layout/SubStepProcess"/>
    <dgm:cxn modelId="{90C781DA-293D-9D44-B9F5-7476B01AA415}" type="presParOf" srcId="{D6F1919A-D797-47A3-A09F-27C20BFA683C}" destId="{7EAD4C3E-CBD4-45F0-A66A-109C245874F3}" srcOrd="0" destOrd="0" presId="urn:microsoft.com/office/officeart/2009/3/layout/SubStepProcess"/>
    <dgm:cxn modelId="{02FCABE1-BD1C-F94D-BA55-0EC85BE1F578}" type="presParOf" srcId="{D6F1919A-D797-47A3-A09F-27C20BFA683C}" destId="{08810307-907E-4982-A07F-70915A3AF0D0}" srcOrd="1" destOrd="0" presId="urn:microsoft.com/office/officeart/2009/3/layout/SubStepProcess"/>
    <dgm:cxn modelId="{23774996-1FBE-3345-A93F-6232EC6F20BE}" type="presParOf" srcId="{D6F1919A-D797-47A3-A09F-27C20BFA683C}" destId="{23627A90-59BF-414F-B387-8F8DAD896FD0}" srcOrd="2" destOrd="0" presId="urn:microsoft.com/office/officeart/2009/3/layout/SubStepProcess"/>
    <dgm:cxn modelId="{E16865CD-3728-7F40-AC80-0B0994A62418}" type="presParOf" srcId="{D6F1919A-D797-47A3-A09F-27C20BFA683C}" destId="{D467E965-FF7C-48E6-8381-BF47C0B9F1A9}" srcOrd="3" destOrd="0" presId="urn:microsoft.com/office/officeart/2009/3/layout/SubStepProcess"/>
    <dgm:cxn modelId="{DDA8226C-DA4E-414F-ACFC-7FBFCCAB9E36}" type="presParOf" srcId="{D6F1919A-D797-47A3-A09F-27C20BFA683C}" destId="{51E4DEF8-1C5E-4956-B4D0-05EDB15A8503}" srcOrd="4" destOrd="0" presId="urn:microsoft.com/office/officeart/2009/3/layout/SubStepProcess"/>
    <dgm:cxn modelId="{F109C727-AADC-D945-80C5-08AE3C3572E3}" type="presParOf" srcId="{20F558B3-62D1-442A-8F6D-02081418AEE5}" destId="{CE78C588-E3FE-440B-A3D8-20454EA84860}" srcOrd="24" destOrd="0" presId="urn:microsoft.com/office/officeart/2009/3/layout/SubStepProcess"/>
    <dgm:cxn modelId="{27EC75AA-D850-6247-82A2-32972EFA9742}" type="presParOf" srcId="{20F558B3-62D1-442A-8F6D-02081418AEE5}" destId="{A67F93E3-D960-452F-BC52-66C257607A3A}" srcOrd="25" destOrd="0" presId="urn:microsoft.com/office/officeart/2009/3/layout/SubStepProcess"/>
    <dgm:cxn modelId="{0F1A4291-63D1-874A-A4E3-A8F3EBC5AEB6}" type="presParOf" srcId="{20F558B3-62D1-442A-8F6D-02081418AEE5}" destId="{9814B717-3A57-4BCF-B807-499353813A2D}" srcOrd="26" destOrd="0" presId="urn:microsoft.com/office/officeart/2009/3/layout/SubStepProcess"/>
    <dgm:cxn modelId="{7F703B90-12A3-1342-8031-1948307BFF9D}" type="presParOf" srcId="{9814B717-3A57-4BCF-B807-499353813A2D}" destId="{FE1F9573-5A3F-4BEE-B9C4-CD22C9ABBC7F}" srcOrd="0" destOrd="0" presId="urn:microsoft.com/office/officeart/2009/3/layout/SubStepProcess"/>
    <dgm:cxn modelId="{5FF7FAF9-F4DA-D449-A278-E5BBD2E6D8D5}" type="presParOf" srcId="{9814B717-3A57-4BCF-B807-499353813A2D}" destId="{4B8B45E6-35E4-4240-B35E-0ED754F2B38C}" srcOrd="1" destOrd="0" presId="urn:microsoft.com/office/officeart/2009/3/layout/SubStepProcess"/>
    <dgm:cxn modelId="{AFDE5996-3DF7-064A-9A52-5633067449E5}" type="presParOf" srcId="{9814B717-3A57-4BCF-B807-499353813A2D}" destId="{E9D1BB93-E3EF-43E1-B2E2-DD449CA76D6F}" srcOrd="2" destOrd="0" presId="urn:microsoft.com/office/officeart/2009/3/layout/SubStepProcess"/>
    <dgm:cxn modelId="{4641B7D6-D3D0-EF4B-80B8-FC0DF7421912}" type="presParOf" srcId="{9814B717-3A57-4BCF-B807-499353813A2D}" destId="{74A2328C-CAD0-47EB-9266-A1C8F1907991}" srcOrd="3" destOrd="0" presId="urn:microsoft.com/office/officeart/2009/3/layout/SubStepProcess"/>
    <dgm:cxn modelId="{79214A04-60A6-A941-AF6C-A1C981C265A2}" type="presParOf" srcId="{9814B717-3A57-4BCF-B807-499353813A2D}" destId="{F90C4FAC-C91A-4792-AF34-4BC22899985D}" srcOrd="4" destOrd="0" presId="urn:microsoft.com/office/officeart/2009/3/layout/SubStepProcess"/>
    <dgm:cxn modelId="{1F3D7EB5-7A56-DF4E-9C66-45215A03D7E5}" type="presParOf" srcId="{20F558B3-62D1-442A-8F6D-02081418AEE5}" destId="{C7A7FA5E-119B-4FFD-B4C7-65AE0273A35A}" srcOrd="27" destOrd="0" presId="urn:microsoft.com/office/officeart/2009/3/layout/SubStepProcess"/>
    <dgm:cxn modelId="{76BB527D-8637-2A4C-A049-1BBB97BC76EF}" type="presParOf" srcId="{20F558B3-62D1-442A-8F6D-02081418AEE5}" destId="{A9C2A944-9E64-4084-AC69-2B56CC00E404}" srcOrd="28" destOrd="0" presId="urn:microsoft.com/office/officeart/2009/3/layout/SubStepProcess"/>
    <dgm:cxn modelId="{D79B1043-BA66-464F-BCFA-661C594B4E47}" type="presParOf" srcId="{20F558B3-62D1-442A-8F6D-02081418AEE5}" destId="{20F9454B-6EDB-4840-A660-38692BE1CF9D}" srcOrd="29" destOrd="0" presId="urn:microsoft.com/office/officeart/2009/3/layout/SubStepProcess"/>
    <dgm:cxn modelId="{645868AB-3C1B-8F4D-97D0-C920433414C9}" type="presParOf" srcId="{20F9454B-6EDB-4840-A660-38692BE1CF9D}" destId="{8E45C01C-6214-474B-A54A-6D407461FB33}" srcOrd="0" destOrd="0" presId="urn:microsoft.com/office/officeart/2009/3/layout/SubStepProcess"/>
    <dgm:cxn modelId="{6AD1CA15-A1FB-454D-B695-7945CE4C9D45}" type="presParOf" srcId="{20F9454B-6EDB-4840-A660-38692BE1CF9D}" destId="{96204DA4-FE4D-4CC7-ACB1-731743226497}" srcOrd="1" destOrd="0" presId="urn:microsoft.com/office/officeart/2009/3/layout/SubStepProcess"/>
    <dgm:cxn modelId="{400F1C47-84BB-7A4B-B3A6-A12663869D3C}" type="presParOf" srcId="{20F9454B-6EDB-4840-A660-38692BE1CF9D}" destId="{3F03B76A-8A80-46FA-A0EF-E4AF80DE0115}" srcOrd="2" destOrd="0" presId="urn:microsoft.com/office/officeart/2009/3/layout/SubStepProcess"/>
    <dgm:cxn modelId="{AB1C069D-6384-8945-AE86-B60B70BF6A7E}" type="presParOf" srcId="{20F9454B-6EDB-4840-A660-38692BE1CF9D}" destId="{06784979-493B-4910-AD6C-B5498284E6B8}" srcOrd="3" destOrd="0" presId="urn:microsoft.com/office/officeart/2009/3/layout/SubStepProcess"/>
    <dgm:cxn modelId="{1C3E5DB7-A4DE-544A-B39F-9529C9709E15}" type="presParOf" srcId="{20F9454B-6EDB-4840-A660-38692BE1CF9D}" destId="{03A15FDD-EB75-4596-88F9-79F9374EE199}" srcOrd="4" destOrd="0" presId="urn:microsoft.com/office/officeart/2009/3/layout/SubStepProcess"/>
    <dgm:cxn modelId="{CB0CA0B6-D895-3C4B-BE14-F6E6F06A4EDF}" type="presParOf" srcId="{20F558B3-62D1-442A-8F6D-02081418AEE5}" destId="{FAC75633-BD45-446D-91A8-563572854102}" srcOrd="30" destOrd="0" presId="urn:microsoft.com/office/officeart/2009/3/layout/SubStepProcess"/>
    <dgm:cxn modelId="{72BBE256-5480-BB4A-A3E1-72D59E62F0B9}" type="presParOf" srcId="{20F558B3-62D1-442A-8F6D-02081418AEE5}" destId="{2E15103B-7EEC-42EB-B17D-C83620222DB5}" srcOrd="31" destOrd="0" presId="urn:microsoft.com/office/officeart/2009/3/layout/SubStepProcess"/>
    <dgm:cxn modelId="{8F22609B-6A7A-FB4A-9AED-04264A1A496D}" type="presParOf" srcId="{20F558B3-62D1-442A-8F6D-02081418AEE5}" destId="{D2DA2DED-9A9C-40E0-89F2-DCD2D858AFAF}" srcOrd="32" destOrd="0" presId="urn:microsoft.com/office/officeart/2009/3/layout/SubStepProcess"/>
    <dgm:cxn modelId="{2C15C18A-DAA8-CF49-BBCE-EA82C1A9DCDA}" type="presParOf" srcId="{D2DA2DED-9A9C-40E0-89F2-DCD2D858AFAF}" destId="{C74B49C6-D954-4304-B56A-4B7079308E4D}" srcOrd="0" destOrd="0" presId="urn:microsoft.com/office/officeart/2009/3/layout/SubStepProcess"/>
    <dgm:cxn modelId="{1405957A-16C4-6C4E-81FB-AD3E47341637}" type="presParOf" srcId="{D2DA2DED-9A9C-40E0-89F2-DCD2D858AFAF}" destId="{6D0D3855-A034-4F8A-A831-0D17E28395FA}" srcOrd="1" destOrd="0" presId="urn:microsoft.com/office/officeart/2009/3/layout/SubStepProcess"/>
    <dgm:cxn modelId="{A929910E-D365-334D-8545-C1F55283928A}" type="presParOf" srcId="{D2DA2DED-9A9C-40E0-89F2-DCD2D858AFAF}" destId="{AF924A66-4B0F-4F21-8000-831CDBA995FB}" srcOrd="2" destOrd="0" presId="urn:microsoft.com/office/officeart/2009/3/layout/SubStepProcess"/>
    <dgm:cxn modelId="{1B75C183-F396-A346-A563-D464755B8C24}" type="presParOf" srcId="{D2DA2DED-9A9C-40E0-89F2-DCD2D858AFAF}" destId="{0B0A04DB-7585-466A-A7E2-B7368ACE728D}" srcOrd="3" destOrd="0" presId="urn:microsoft.com/office/officeart/2009/3/layout/SubStepProcess"/>
    <dgm:cxn modelId="{4B398D8B-A547-4A45-B125-96BE19F08141}" type="presParOf" srcId="{D2DA2DED-9A9C-40E0-89F2-DCD2D858AFAF}" destId="{D81CD999-1ED9-40D0-B9E1-002D329F5F86}" srcOrd="4" destOrd="0" presId="urn:microsoft.com/office/officeart/2009/3/layout/SubStepProcess"/>
    <dgm:cxn modelId="{1C6160E2-F194-5141-A149-B6CD8C9F6E4F}" type="presParOf" srcId="{20F558B3-62D1-442A-8F6D-02081418AEE5}" destId="{050378E4-BDC0-44B2-BBD1-4A90D81F1BAC}" srcOrd="33" destOrd="0" presId="urn:microsoft.com/office/officeart/2009/3/layout/SubStepProcess"/>
    <dgm:cxn modelId="{99D999E5-6552-7F45-892A-7C727A7330F8}" type="presParOf" srcId="{20F558B3-62D1-442A-8F6D-02081418AEE5}" destId="{7B0D213C-9395-4314-B64E-241A46F89B64}" srcOrd="34" destOrd="0" presId="urn:microsoft.com/office/officeart/2009/3/layout/SubStepProcess"/>
    <dgm:cxn modelId="{321ED273-F996-F34B-9C96-8826842B0F27}" type="presParOf" srcId="{20F558B3-62D1-442A-8F6D-02081418AEE5}" destId="{668F07EE-147B-4228-9FD1-5FEB15F1456F}" srcOrd="35" destOrd="0" presId="urn:microsoft.com/office/officeart/2009/3/layout/SubStepProcess"/>
    <dgm:cxn modelId="{F7D186A9-8580-2E49-A07C-22A3B2F258D2}" type="presParOf" srcId="{668F07EE-147B-4228-9FD1-5FEB15F1456F}" destId="{FC5159D2-0E25-474D-B99C-ACAD2752A4A3}" srcOrd="0" destOrd="0" presId="urn:microsoft.com/office/officeart/2009/3/layout/SubStepProcess"/>
    <dgm:cxn modelId="{05411013-DFED-1049-A9A7-7994A47F1102}" type="presParOf" srcId="{668F07EE-147B-4228-9FD1-5FEB15F1456F}" destId="{9476440E-503D-4CB9-84A1-F491BCF74DF6}" srcOrd="1" destOrd="0" presId="urn:microsoft.com/office/officeart/2009/3/layout/SubStepProcess"/>
    <dgm:cxn modelId="{BFABDB93-771E-EA4E-B328-A595C23A21D4}" type="presParOf" srcId="{668F07EE-147B-4228-9FD1-5FEB15F1456F}" destId="{576A5F21-846E-4C9D-B2D7-2093937F1154}" srcOrd="2" destOrd="0" presId="urn:microsoft.com/office/officeart/2009/3/layout/SubStepProcess"/>
    <dgm:cxn modelId="{3FA01C6D-3C1B-A448-8B9F-63CE41FBA734}" type="presParOf" srcId="{668F07EE-147B-4228-9FD1-5FEB15F1456F}" destId="{37FF6F26-2703-4C12-927D-A9044CB7378E}" srcOrd="3" destOrd="0" presId="urn:microsoft.com/office/officeart/2009/3/layout/SubStepProcess"/>
    <dgm:cxn modelId="{085642B5-B9C3-1241-B3B7-E4B5224E5EA2}" type="presParOf" srcId="{668F07EE-147B-4228-9FD1-5FEB15F1456F}" destId="{D119405B-7A5F-4ADF-94B2-137FDC5D608F}" srcOrd="4" destOrd="0" presId="urn:microsoft.com/office/officeart/2009/3/layout/SubStepProcess"/>
    <dgm:cxn modelId="{76703868-0B7D-BC40-A487-EDE78FE6F912}" type="presParOf" srcId="{20F558B3-62D1-442A-8F6D-02081418AEE5}" destId="{B5B1AFE3-815B-4E06-B73F-3A35D5341935}" srcOrd="36" destOrd="0" presId="urn:microsoft.com/office/officeart/2009/3/layout/SubStepProcess"/>
    <dgm:cxn modelId="{2195A996-580D-9F40-AFE1-EA1D4D23E1B0}" type="presParOf" srcId="{20F558B3-62D1-442A-8F6D-02081418AEE5}" destId="{34D8475C-79C9-4AF0-9D4A-FCD9AC710D7D}" srcOrd="37" destOrd="0" presId="urn:microsoft.com/office/officeart/2009/3/layout/SubStepProcess"/>
    <dgm:cxn modelId="{859FCCA3-AF60-F448-98D7-47FA362C6DF3}" type="presParOf" srcId="{20F558B3-62D1-442A-8F6D-02081418AEE5}" destId="{742B2B78-325A-433A-96B6-9AFABDBE3D14}" srcOrd="38" destOrd="0" presId="urn:microsoft.com/office/officeart/2009/3/layout/SubStepProcess"/>
    <dgm:cxn modelId="{DCF9B1BA-B49D-AB4C-9F2A-24F28747C82B}" type="presParOf" srcId="{742B2B78-325A-433A-96B6-9AFABDBE3D14}" destId="{1057D424-5C75-4A52-960D-A8EC46C43A60}" srcOrd="0" destOrd="0" presId="urn:microsoft.com/office/officeart/2009/3/layout/SubStepProcess"/>
    <dgm:cxn modelId="{903B94C8-1A51-EF48-8710-F0E36E23E929}" type="presParOf" srcId="{742B2B78-325A-433A-96B6-9AFABDBE3D14}" destId="{5B1F7A90-B2D2-4A0B-9239-A6BC51A27DC6}" srcOrd="1" destOrd="0" presId="urn:microsoft.com/office/officeart/2009/3/layout/SubStepProcess"/>
    <dgm:cxn modelId="{9A575571-41C4-1F4B-8BA8-6223E669C125}" type="presParOf" srcId="{742B2B78-325A-433A-96B6-9AFABDBE3D14}" destId="{9377DD8F-FB3A-4684-BDAC-4A7549F1616B}" srcOrd="2" destOrd="0" presId="urn:microsoft.com/office/officeart/2009/3/layout/SubStepProcess"/>
    <dgm:cxn modelId="{4D410CCA-BA19-394F-B868-55AC2707188A}" type="presParOf" srcId="{742B2B78-325A-433A-96B6-9AFABDBE3D14}" destId="{CDAA6B94-9F49-4AF9-AE3E-32F9C77F44E2}" srcOrd="3" destOrd="0" presId="urn:microsoft.com/office/officeart/2009/3/layout/SubStepProcess"/>
    <dgm:cxn modelId="{D26206D2-1491-0A4D-9C30-2662DCC87B2B}" type="presParOf" srcId="{742B2B78-325A-433A-96B6-9AFABDBE3D14}" destId="{E9E10DE2-C71B-4D0C-948A-778438EF8A77}" srcOrd="4" destOrd="0" presId="urn:microsoft.com/office/officeart/2009/3/layout/SubStepProcess"/>
    <dgm:cxn modelId="{30499AA2-5BA4-7B45-82CE-327CB1C04C68}" type="presParOf" srcId="{20F558B3-62D1-442A-8F6D-02081418AEE5}" destId="{86594893-A27E-4C0F-ACC1-2D199E659653}" srcOrd="39" destOrd="0" presId="urn:microsoft.com/office/officeart/2009/3/layout/SubStepProcess"/>
    <dgm:cxn modelId="{B9B41198-9470-7448-AB35-40566C57A110}" type="presParOf" srcId="{20F558B3-62D1-442A-8F6D-02081418AEE5}" destId="{2E9FA2FD-7E91-4D6C-AD4A-6A9FCE85711F}" srcOrd="40" destOrd="0" presId="urn:microsoft.com/office/officeart/2009/3/layout/SubStepProcess"/>
    <dgm:cxn modelId="{1CFF3CA0-15D8-B44B-92A1-2ACF11E9729F}" type="presParOf" srcId="{20F558B3-62D1-442A-8F6D-02081418AEE5}" destId="{77193D0D-781C-433C-9E38-5689B120EF85}" srcOrd="41" destOrd="0" presId="urn:microsoft.com/office/officeart/2009/3/layout/SubStepProcess"/>
    <dgm:cxn modelId="{D8EEAAF6-8E23-CE44-BBC9-84789DB06ED8}" type="presParOf" srcId="{77193D0D-781C-433C-9E38-5689B120EF85}" destId="{07A7472D-B82D-4EA1-AFB6-A0E7B3093B48}" srcOrd="0" destOrd="0" presId="urn:microsoft.com/office/officeart/2009/3/layout/SubStepProcess"/>
    <dgm:cxn modelId="{D549DE99-646A-E243-8859-4B9602D35F07}" type="presParOf" srcId="{77193D0D-781C-433C-9E38-5689B120EF85}" destId="{1376C2C3-8033-4070-8471-379B7D24D89C}" srcOrd="1" destOrd="0" presId="urn:microsoft.com/office/officeart/2009/3/layout/SubStepProcess"/>
    <dgm:cxn modelId="{D93993E6-1F91-9B44-847A-CF1B703345AE}" type="presParOf" srcId="{77193D0D-781C-433C-9E38-5689B120EF85}" destId="{392A5704-34F2-413E-A28E-0E723E99AEF7}" srcOrd="2" destOrd="0" presId="urn:microsoft.com/office/officeart/2009/3/layout/SubStepProcess"/>
    <dgm:cxn modelId="{7C393F0E-DEE0-7343-B19E-0525CC93E896}" type="presParOf" srcId="{77193D0D-781C-433C-9E38-5689B120EF85}" destId="{43160C9B-1062-4C39-B3E4-A8D8F037D27C}" srcOrd="3" destOrd="0" presId="urn:microsoft.com/office/officeart/2009/3/layout/SubStepProcess"/>
    <dgm:cxn modelId="{D4B0191B-72CA-C24B-BA27-8FA8F79A3DFF}" type="presParOf" srcId="{77193D0D-781C-433C-9E38-5689B120EF85}" destId="{A43AA722-C85F-44E8-B61A-D5DDA614F0FB}" srcOrd="4" destOrd="0" presId="urn:microsoft.com/office/officeart/2009/3/layout/SubStepProcess"/>
    <dgm:cxn modelId="{F93C8540-083E-484F-91C6-D1D3EA714BF1}" type="presParOf" srcId="{20F558B3-62D1-442A-8F6D-02081418AEE5}" destId="{4A52D137-794B-4CF2-9360-77E6EEEF0931}" srcOrd="42" destOrd="0" presId="urn:microsoft.com/office/officeart/2009/3/layout/SubStepProcess"/>
    <dgm:cxn modelId="{2D042BE2-4307-8646-B75B-23DFE52CED99}" type="presParOf" srcId="{20F558B3-62D1-442A-8F6D-02081418AEE5}" destId="{3A07754D-ED0C-4CDC-869B-B8814858980B}" srcOrd="43" destOrd="0" presId="urn:microsoft.com/office/officeart/2009/3/layout/SubStepProcess"/>
    <dgm:cxn modelId="{23CEA186-F88D-C34E-93EF-E9DFD5DA162C}" type="presParOf" srcId="{20F558B3-62D1-442A-8F6D-02081418AEE5}" destId="{97A1BDF8-1677-4B4B-A084-221213FFB927}" srcOrd="44" destOrd="0" presId="urn:microsoft.com/office/officeart/2009/3/layout/SubStepProcess"/>
    <dgm:cxn modelId="{607C1642-FBA5-3646-AB0B-C0FA895E8BEA}" type="presParOf" srcId="{97A1BDF8-1677-4B4B-A084-221213FFB927}" destId="{34E7A47D-D3EC-4B49-8E3C-6324F0563B3A}" srcOrd="0" destOrd="0" presId="urn:microsoft.com/office/officeart/2009/3/layout/SubStepProcess"/>
    <dgm:cxn modelId="{0589C2FF-C47E-5441-A50B-266F99E17B80}" type="presParOf" srcId="{97A1BDF8-1677-4B4B-A084-221213FFB927}" destId="{45598EEA-DE0F-4169-9EBB-D9D7FDCA1C65}" srcOrd="1" destOrd="0" presId="urn:microsoft.com/office/officeart/2009/3/layout/SubStepProcess"/>
    <dgm:cxn modelId="{59308A09-E3F6-8845-89E6-995005B08CFA}" type="presParOf" srcId="{97A1BDF8-1677-4B4B-A084-221213FFB927}" destId="{9BC85349-4616-4E59-9196-A967C9BAF8E0}" srcOrd="2" destOrd="0" presId="urn:microsoft.com/office/officeart/2009/3/layout/SubStepProcess"/>
    <dgm:cxn modelId="{A0B6E7DE-23E5-9A4B-A112-F97FD81F39E5}" type="presParOf" srcId="{97A1BDF8-1677-4B4B-A084-221213FFB927}" destId="{E6B5E9DC-7D21-4D12-BE0F-46BA1636B65D}" srcOrd="3" destOrd="0" presId="urn:microsoft.com/office/officeart/2009/3/layout/SubStepProcess"/>
    <dgm:cxn modelId="{D68D9477-B6F6-464F-99A0-8862ADE7D29F}" type="presParOf" srcId="{97A1BDF8-1677-4B4B-A084-221213FFB927}" destId="{DB1A8727-C6BD-47B0-BF7D-0864831F2FFF}" srcOrd="4" destOrd="0" presId="urn:microsoft.com/office/officeart/2009/3/layout/SubStepProcess"/>
    <dgm:cxn modelId="{667EAD5A-0FC2-CC4A-9B8D-B3E14D2A80B0}" type="presParOf" srcId="{20F558B3-62D1-442A-8F6D-02081418AEE5}" destId="{A1091C9A-4889-4203-ACF4-7AF69F5E8F14}" srcOrd="45" destOrd="0" presId="urn:microsoft.com/office/officeart/2009/3/layout/SubStepProcess"/>
    <dgm:cxn modelId="{65148C19-420D-AC4E-9E08-EB42F6435492}" type="presParOf" srcId="{20F558B3-62D1-442A-8F6D-02081418AEE5}" destId="{1AAC7A95-07CD-4C6F-A580-4BB3A5FD8D63}" srcOrd="46" destOrd="0" presId="urn:microsoft.com/office/officeart/2009/3/layout/SubStepProcess"/>
    <dgm:cxn modelId="{BCB2173C-6F73-394D-8A39-5F8B06A1F29B}" type="presParOf" srcId="{20F558B3-62D1-442A-8F6D-02081418AEE5}" destId="{9430A782-D5A4-44BA-8C35-E0BAABE7BD35}" srcOrd="47" destOrd="0" presId="urn:microsoft.com/office/officeart/2009/3/layout/SubStepProcess"/>
    <dgm:cxn modelId="{274B9260-6AB1-CB4A-BBEB-6817C5F69AC7}" type="presParOf" srcId="{9430A782-D5A4-44BA-8C35-E0BAABE7BD35}" destId="{F73691D2-15BB-4567-A787-E90931EB890F}" srcOrd="0" destOrd="0" presId="urn:microsoft.com/office/officeart/2009/3/layout/SubStepProcess"/>
    <dgm:cxn modelId="{4EE85CE4-FB6D-C64B-B26C-CB2563B01EA9}" type="presParOf" srcId="{9430A782-D5A4-44BA-8C35-E0BAABE7BD35}" destId="{C21FBB08-54BB-4ECF-9C8B-D6587961CEE7}" srcOrd="1" destOrd="0" presId="urn:microsoft.com/office/officeart/2009/3/layout/SubStepProcess"/>
    <dgm:cxn modelId="{694536A0-5A36-E547-934B-7A65151EFFBC}" type="presParOf" srcId="{9430A782-D5A4-44BA-8C35-E0BAABE7BD35}" destId="{6D227096-B957-4D56-8DA1-A0ABA177B817}" srcOrd="2" destOrd="0" presId="urn:microsoft.com/office/officeart/2009/3/layout/SubStepProcess"/>
    <dgm:cxn modelId="{D7C72C04-063C-334A-981A-B45D06CE590F}" type="presParOf" srcId="{9430A782-D5A4-44BA-8C35-E0BAABE7BD35}" destId="{6564B9C6-D729-4BF0-A060-EDDCC991BBA2}" srcOrd="3" destOrd="0" presId="urn:microsoft.com/office/officeart/2009/3/layout/SubStepProcess"/>
    <dgm:cxn modelId="{49FFE69E-145D-FD45-9EB2-94E216B37B96}" type="presParOf" srcId="{9430A782-D5A4-44BA-8C35-E0BAABE7BD35}" destId="{988F957D-C33F-4889-AA7E-92EBE5A2C77A}" srcOrd="4" destOrd="0" presId="urn:microsoft.com/office/officeart/2009/3/layout/SubStepProcess"/>
    <dgm:cxn modelId="{ABCDC72D-F0D8-2B4D-9D71-1B493A5D7CBB}" type="presParOf" srcId="{20F558B3-62D1-442A-8F6D-02081418AEE5}" destId="{FCAF7093-0F09-43F3-8128-4BECA3CD5D65}" srcOrd="48" destOrd="0" presId="urn:microsoft.com/office/officeart/2009/3/layout/SubStepProcess"/>
    <dgm:cxn modelId="{C2BB8D66-FE1F-204C-80C9-45F1819AB184}" type="presParOf" srcId="{20F558B3-62D1-442A-8F6D-02081418AEE5}" destId="{D69739D7-DCEF-43A2-818F-45764610B255}" srcOrd="49" destOrd="0" presId="urn:microsoft.com/office/officeart/2009/3/layout/SubStepProcess"/>
    <dgm:cxn modelId="{903873A3-FD84-7C4D-B26D-A6F1CA6CA877}" type="presParOf" srcId="{20F558B3-62D1-442A-8F6D-02081418AEE5}" destId="{6E08D4BB-87EA-4C02-B38B-0CEDEF1A960C}" srcOrd="50" destOrd="0" presId="urn:microsoft.com/office/officeart/2009/3/layout/SubStepProcess"/>
    <dgm:cxn modelId="{2CA67E06-E9D3-C84D-8807-D39787F5D024}" type="presParOf" srcId="{6E08D4BB-87EA-4C02-B38B-0CEDEF1A960C}" destId="{B55ED40B-FDF2-4DCD-8AF3-48114EA6560B}" srcOrd="0" destOrd="0" presId="urn:microsoft.com/office/officeart/2009/3/layout/SubStepProcess"/>
    <dgm:cxn modelId="{70FD39A3-639F-3F4F-91C7-81F76AB2EA36}" type="presParOf" srcId="{6E08D4BB-87EA-4C02-B38B-0CEDEF1A960C}" destId="{AE4B7AE4-A996-4419-8370-6112BEB49A04}" srcOrd="1" destOrd="0" presId="urn:microsoft.com/office/officeart/2009/3/layout/SubStepProcess"/>
    <dgm:cxn modelId="{D274F5C5-C552-0149-B2DC-1763D9F20413}" type="presParOf" srcId="{6E08D4BB-87EA-4C02-B38B-0CEDEF1A960C}" destId="{B93FF3DD-5591-4704-A7D4-42408D20A53F}" srcOrd="2" destOrd="0" presId="urn:microsoft.com/office/officeart/2009/3/layout/SubStepProcess"/>
    <dgm:cxn modelId="{771E8463-BD22-0B40-AD16-76231235C33F}" type="presParOf" srcId="{6E08D4BB-87EA-4C02-B38B-0CEDEF1A960C}" destId="{25BD17A6-3959-45DD-AD14-02F1EFD8AA63}" srcOrd="3" destOrd="0" presId="urn:microsoft.com/office/officeart/2009/3/layout/SubStepProcess"/>
    <dgm:cxn modelId="{FC074680-81C3-E644-8F14-B4B565DD14C7}" type="presParOf" srcId="{6E08D4BB-87EA-4C02-B38B-0CEDEF1A960C}" destId="{E22B408A-5F36-4B9B-98FA-73F2F5F3E945}" srcOrd="4" destOrd="0" presId="urn:microsoft.com/office/officeart/2009/3/layout/SubStepProcess"/>
    <dgm:cxn modelId="{70678FB6-A8F0-3B4D-B2C2-69FBD065BFF5}" type="presParOf" srcId="{20F558B3-62D1-442A-8F6D-02081418AEE5}" destId="{66D42AC5-3DF6-4D0F-95C9-5124F507088A}" srcOrd="51" destOrd="0" presId="urn:microsoft.com/office/officeart/2009/3/layout/SubStepProcess"/>
    <dgm:cxn modelId="{1A4173DA-212B-5044-83DD-0B19A281B5C0}" type="presParOf" srcId="{20F558B3-62D1-442A-8F6D-02081418AEE5}" destId="{577B99D4-1C1A-4407-974E-EAA132318E25}" srcOrd="52" destOrd="0" presId="urn:microsoft.com/office/officeart/2009/3/layout/SubStepProcess"/>
    <dgm:cxn modelId="{5F2FF763-6864-1A4B-9020-6A2D06AA2623}" type="presParOf" srcId="{20F558B3-62D1-442A-8F6D-02081418AEE5}" destId="{84D21AE9-56D8-42C0-8DFB-F4BD277EEEC5}" srcOrd="53" destOrd="0" presId="urn:microsoft.com/office/officeart/2009/3/layout/SubStepProcess"/>
    <dgm:cxn modelId="{7750F5CA-DB94-4647-9FE3-93F4A4730A94}" type="presParOf" srcId="{84D21AE9-56D8-42C0-8DFB-F4BD277EEEC5}" destId="{EB0DD9CC-BD97-451D-B794-241318C4D7F1}" srcOrd="0" destOrd="0" presId="urn:microsoft.com/office/officeart/2009/3/layout/SubStepProcess"/>
    <dgm:cxn modelId="{29874705-F4A1-0B4A-B4B7-A8823E1A26FB}" type="presParOf" srcId="{84D21AE9-56D8-42C0-8DFB-F4BD277EEEC5}" destId="{B9318F09-282E-4D6B-AFD8-962176E800EA}" srcOrd="1" destOrd="0" presId="urn:microsoft.com/office/officeart/2009/3/layout/SubStepProcess"/>
    <dgm:cxn modelId="{C2FD1F4E-D1CE-2B4B-9CB0-084784DC881D}" type="presParOf" srcId="{84D21AE9-56D8-42C0-8DFB-F4BD277EEEC5}" destId="{31956BE9-6661-4228-BB8D-9FCB6CA59DDF}" srcOrd="2" destOrd="0" presId="urn:microsoft.com/office/officeart/2009/3/layout/SubStepProcess"/>
    <dgm:cxn modelId="{360F6DBD-68CC-DA4A-8A9F-FDE9A6BBE9F9}" type="presParOf" srcId="{84D21AE9-56D8-42C0-8DFB-F4BD277EEEC5}" destId="{87D075D9-A93C-4EA3-8DB8-3DA166F1F75F}" srcOrd="3" destOrd="0" presId="urn:microsoft.com/office/officeart/2009/3/layout/SubStepProcess"/>
    <dgm:cxn modelId="{77A0B689-5708-DE43-BB08-9F284130558E}" type="presParOf" srcId="{84D21AE9-56D8-42C0-8DFB-F4BD277EEEC5}" destId="{3BD0C75F-E58E-476C-96BB-4ECADAA1B55C}" srcOrd="4" destOrd="0" presId="urn:microsoft.com/office/officeart/2009/3/layout/SubStepProcess"/>
    <dgm:cxn modelId="{3C7F44D2-8AA3-EB43-A5C8-CE9D2783C208}" type="presParOf" srcId="{20F558B3-62D1-442A-8F6D-02081418AEE5}" destId="{A3D6850D-7E25-4357-B827-04D49A0B8615}" srcOrd="54" destOrd="0" presId="urn:microsoft.com/office/officeart/2009/3/layout/SubStepProcess"/>
    <dgm:cxn modelId="{5F0655F3-1DE6-3545-96AF-939B94C808E6}" type="presParOf" srcId="{20F558B3-62D1-442A-8F6D-02081418AEE5}" destId="{887A7745-BA0D-413E-86C6-F7B95D582FD5}" srcOrd="55" destOrd="0" presId="urn:microsoft.com/office/officeart/2009/3/layout/SubStepProcess"/>
    <dgm:cxn modelId="{8B2D9C1E-BA78-954D-B751-BCB43D7DBFB1}" type="presParOf" srcId="{20F558B3-62D1-442A-8F6D-02081418AEE5}" destId="{0B11E7AC-9657-4705-9FAC-26740A51A5DF}" srcOrd="56" destOrd="0" presId="urn:microsoft.com/office/officeart/2009/3/layout/SubStepProcess"/>
    <dgm:cxn modelId="{CAD1BB8B-6338-FA40-BEB5-57477A4F6FC2}" type="presParOf" srcId="{0B11E7AC-9657-4705-9FAC-26740A51A5DF}" destId="{053A3F5B-F739-4896-AE79-761150D0A021}" srcOrd="0" destOrd="0" presId="urn:microsoft.com/office/officeart/2009/3/layout/SubStepProcess"/>
    <dgm:cxn modelId="{7A719688-3FC6-B549-A83E-5C2C78E6455C}" type="presParOf" srcId="{0B11E7AC-9657-4705-9FAC-26740A51A5DF}" destId="{99E61482-CB0E-47C8-95D5-6FA32839950D}" srcOrd="1" destOrd="0" presId="urn:microsoft.com/office/officeart/2009/3/layout/SubStepProcess"/>
    <dgm:cxn modelId="{D6AD92F0-5C6C-FE41-9116-9911CD093865}" type="presParOf" srcId="{0B11E7AC-9657-4705-9FAC-26740A51A5DF}" destId="{26C6FDAC-345F-4B42-9ECA-ADBF8A7415B6}" srcOrd="2" destOrd="0" presId="urn:microsoft.com/office/officeart/2009/3/layout/SubStepProcess"/>
    <dgm:cxn modelId="{96E8472A-60E2-1345-ACEF-22849E42CF96}" type="presParOf" srcId="{0B11E7AC-9657-4705-9FAC-26740A51A5DF}" destId="{E2755BC3-5C32-4E8E-8D27-A5E8895EB981}" srcOrd="3" destOrd="0" presId="urn:microsoft.com/office/officeart/2009/3/layout/SubStepProcess"/>
    <dgm:cxn modelId="{38CFA201-71BE-DA4B-878E-ED452252D7D9}" type="presParOf" srcId="{0B11E7AC-9657-4705-9FAC-26740A51A5DF}" destId="{8149D76F-DE8B-4F90-B1B0-FDB62759F006}" srcOrd="4" destOrd="0" presId="urn:microsoft.com/office/officeart/2009/3/layout/SubStepProcess"/>
    <dgm:cxn modelId="{C375FBC0-46C7-B84F-B8BF-7665BEAA9917}" type="presParOf" srcId="{20F558B3-62D1-442A-8F6D-02081418AEE5}" destId="{ACB6A572-63D1-43AC-A74C-32960E176380}" srcOrd="57" destOrd="0" presId="urn:microsoft.com/office/officeart/2009/3/layout/SubStepProcess"/>
    <dgm:cxn modelId="{1C5D836D-66A0-4B40-B157-8026E85532E8}" type="presParOf" srcId="{20F558B3-62D1-442A-8F6D-02081418AEE5}" destId="{8F209CC7-0015-4796-ABD8-C3FE03696DBC}" srcOrd="58" destOrd="0" presId="urn:microsoft.com/office/officeart/2009/3/layout/SubStepProcess"/>
    <dgm:cxn modelId="{FB3306F5-EEF2-404B-92E7-E9F1D81F1FE3}" type="presParOf" srcId="{20F558B3-62D1-442A-8F6D-02081418AEE5}" destId="{EB979EFC-A111-44E1-B4F1-7B5704754BE6}" srcOrd="59" destOrd="0" presId="urn:microsoft.com/office/officeart/2009/3/layout/SubStepProcess"/>
    <dgm:cxn modelId="{100221C0-A190-D746-ADCA-552197EFC5FF}" type="presParOf" srcId="{EB979EFC-A111-44E1-B4F1-7B5704754BE6}" destId="{9A0997C7-888B-4E95-85F6-BFEB4C12B613}" srcOrd="0" destOrd="0" presId="urn:microsoft.com/office/officeart/2009/3/layout/SubStepProcess"/>
    <dgm:cxn modelId="{7290C4B7-A8B6-9B46-BE04-FDF7819095C5}" type="presParOf" srcId="{EB979EFC-A111-44E1-B4F1-7B5704754BE6}" destId="{289E8DC0-D64F-4A26-BC92-BB22FFBE515D}" srcOrd="1" destOrd="0" presId="urn:microsoft.com/office/officeart/2009/3/layout/SubStepProcess"/>
    <dgm:cxn modelId="{743FE30D-2608-4044-9A7C-B20FABDB4663}" type="presParOf" srcId="{EB979EFC-A111-44E1-B4F1-7B5704754BE6}" destId="{DCB8203C-DD9A-4836-A4CB-858D781F1657}" srcOrd="2" destOrd="0" presId="urn:microsoft.com/office/officeart/2009/3/layout/SubStepProcess"/>
    <dgm:cxn modelId="{58DEE29D-6102-5E40-9A79-0BE7CBF219B4}" type="presParOf" srcId="{EB979EFC-A111-44E1-B4F1-7B5704754BE6}" destId="{B25C771D-66D3-4EA6-AE3D-9AFC62CF5E5D}" srcOrd="3" destOrd="0" presId="urn:microsoft.com/office/officeart/2009/3/layout/SubStepProcess"/>
    <dgm:cxn modelId="{8B8FE987-9CAC-6147-A8A6-3D5305947330}" type="presParOf" srcId="{EB979EFC-A111-44E1-B4F1-7B5704754BE6}" destId="{4A581D96-A520-4697-BC71-7107835FB6A4}" srcOrd="4" destOrd="0" presId="urn:microsoft.com/office/officeart/2009/3/layout/SubStepProcess"/>
    <dgm:cxn modelId="{06468A35-9AD9-0F4B-B2C4-B16BA07976A1}" type="presParOf" srcId="{20F558B3-62D1-442A-8F6D-02081418AEE5}" destId="{DBB4EBA8-058B-46C7-96D3-CE8B9320AF6C}" srcOrd="60" destOrd="0" presId="urn:microsoft.com/office/officeart/2009/3/layout/SubStepProcess"/>
    <dgm:cxn modelId="{A43768DB-853E-764C-85BB-C7FEB69DDE79}" type="presParOf" srcId="{20F558B3-62D1-442A-8F6D-02081418AEE5}" destId="{F6A56DCE-9762-45BF-BE92-6E967FF80DFC}" srcOrd="61" destOrd="0" presId="urn:microsoft.com/office/officeart/2009/3/layout/SubStepProcess"/>
    <dgm:cxn modelId="{E0A1B33A-E521-3341-A4F0-BA9A7836C32F}" type="presParOf" srcId="{20F558B3-62D1-442A-8F6D-02081418AEE5}" destId="{55B456C4-9583-41BE-9AF6-B011B51FA48C}" srcOrd="62" destOrd="0" presId="urn:microsoft.com/office/officeart/2009/3/layout/SubStepProcess"/>
    <dgm:cxn modelId="{BA6D229A-97AA-E948-BF57-C46688A192DD}" type="presParOf" srcId="{55B456C4-9583-41BE-9AF6-B011B51FA48C}" destId="{BE9E6141-18F7-430C-BA66-311DFB45FC59}" srcOrd="0" destOrd="0" presId="urn:microsoft.com/office/officeart/2009/3/layout/SubStepProcess"/>
    <dgm:cxn modelId="{03C9D057-A624-144B-8776-8D436990CDB4}" type="presParOf" srcId="{55B456C4-9583-41BE-9AF6-B011B51FA48C}" destId="{2EA2B5D6-C804-4B48-9D00-86C22C74E297}" srcOrd="1" destOrd="0" presId="urn:microsoft.com/office/officeart/2009/3/layout/SubStepProcess"/>
    <dgm:cxn modelId="{096FB344-5906-1B40-8E89-30A70A0893F5}" type="presParOf" srcId="{55B456C4-9583-41BE-9AF6-B011B51FA48C}" destId="{8E6B2954-2C53-4761-B062-FF5387172746}" srcOrd="2" destOrd="0" presId="urn:microsoft.com/office/officeart/2009/3/layout/SubStepProcess"/>
    <dgm:cxn modelId="{F4CB2639-A20C-354B-A57B-ECC97053E429}" type="presParOf" srcId="{55B456C4-9583-41BE-9AF6-B011B51FA48C}" destId="{6FC478FC-CB66-4B0E-B9B1-619DCD209D81}" srcOrd="3" destOrd="0" presId="urn:microsoft.com/office/officeart/2009/3/layout/SubStepProcess"/>
    <dgm:cxn modelId="{8AB3964C-18EA-AD44-A12F-21B97559464C}" type="presParOf" srcId="{55B456C4-9583-41BE-9AF6-B011B51FA48C}" destId="{857E5943-E06D-4882-8911-FC674C58D638}" srcOrd="4" destOrd="0" presId="urn:microsoft.com/office/officeart/2009/3/layout/SubStepProcess"/>
    <dgm:cxn modelId="{57F5F9BF-5510-2643-AF74-55EF6F182062}" type="presParOf" srcId="{20F558B3-62D1-442A-8F6D-02081418AEE5}" destId="{B6A1643A-45F7-43E5-8276-746C95F73887}" srcOrd="63" destOrd="0" presId="urn:microsoft.com/office/officeart/2009/3/layout/SubStepProcess"/>
    <dgm:cxn modelId="{A9AF0240-C5A8-C24D-925C-BC846F7D4FE4}" type="presParOf" srcId="{20F558B3-62D1-442A-8F6D-02081418AEE5}" destId="{0778FC81-1AE9-41E8-B904-8612D9C1B341}" srcOrd="64" destOrd="0" presId="urn:microsoft.com/office/officeart/2009/3/layout/SubStepProcess"/>
    <dgm:cxn modelId="{78D894A6-AD3F-F041-BABC-FF855717DE88}" type="presParOf" srcId="{20F558B3-62D1-442A-8F6D-02081418AEE5}" destId="{4DE9E0EA-0495-45B4-BFBA-5C9BF370DFDA}" srcOrd="65" destOrd="0" presId="urn:microsoft.com/office/officeart/2009/3/layout/SubStepProcess"/>
    <dgm:cxn modelId="{1A35FA88-9D0D-4444-B7C1-307F6A0C80CA}" type="presParOf" srcId="{4DE9E0EA-0495-45B4-BFBA-5C9BF370DFDA}" destId="{EFC6E825-D16E-4149-8E3B-9380592FA24A}" srcOrd="0" destOrd="0" presId="urn:microsoft.com/office/officeart/2009/3/layout/SubStepProcess"/>
    <dgm:cxn modelId="{EF8DF890-53C6-5C46-B786-AECFCDE120D9}" type="presParOf" srcId="{4DE9E0EA-0495-45B4-BFBA-5C9BF370DFDA}" destId="{B05672B7-7C35-4F50-9622-F6BB93474307}" srcOrd="1" destOrd="0" presId="urn:microsoft.com/office/officeart/2009/3/layout/SubStepProcess"/>
    <dgm:cxn modelId="{92477A59-6B41-934E-B581-547E3FEF6E7D}" type="presParOf" srcId="{4DE9E0EA-0495-45B4-BFBA-5C9BF370DFDA}" destId="{44E71E86-1395-4A92-8C66-C3CFE0C8D8B0}" srcOrd="2" destOrd="0" presId="urn:microsoft.com/office/officeart/2009/3/layout/SubStepProcess"/>
    <dgm:cxn modelId="{2E3B64C0-5443-8741-9E37-308275D5556F}" type="presParOf" srcId="{4DE9E0EA-0495-45B4-BFBA-5C9BF370DFDA}" destId="{F68BF0F4-E05F-49B2-9BF7-CA82C5CABEE0}" srcOrd="3" destOrd="0" presId="urn:microsoft.com/office/officeart/2009/3/layout/SubStepProcess"/>
    <dgm:cxn modelId="{7541454C-45B1-9544-AAC4-35C6F1083331}" type="presParOf" srcId="{4DE9E0EA-0495-45B4-BFBA-5C9BF370DFDA}" destId="{209D3479-7531-4CCA-A0D7-282329CAFE35}" srcOrd="4" destOrd="0" presId="urn:microsoft.com/office/officeart/2009/3/layout/SubStepProcess"/>
    <dgm:cxn modelId="{66C4030A-D4CB-FA48-B2DA-593BCC7478EE}" type="presParOf" srcId="{20F558B3-62D1-442A-8F6D-02081418AEE5}" destId="{3CDF1C82-3E62-405B-8FFA-2C429263D908}" srcOrd="66" destOrd="0" presId="urn:microsoft.com/office/officeart/2009/3/layout/SubStepProcess"/>
    <dgm:cxn modelId="{7E59F6DE-FAB0-764C-9DC7-D14C3C047416}" type="presParOf" srcId="{20F558B3-62D1-442A-8F6D-02081418AEE5}" destId="{AB976FEC-ED91-4EF4-A9BA-C2F8136A0A63}" srcOrd="67" destOrd="0" presId="urn:microsoft.com/office/officeart/2009/3/layout/SubStepProcess"/>
    <dgm:cxn modelId="{D811DDAE-F87A-B547-BB8D-7927776899B1}" type="presParOf" srcId="{20F558B3-62D1-442A-8F6D-02081418AEE5}" destId="{3058A8A3-CBA6-4A1E-B12E-4D64CB80C209}" srcOrd="68" destOrd="0" presId="urn:microsoft.com/office/officeart/2009/3/layout/SubStepProcess"/>
    <dgm:cxn modelId="{A15E0312-2D33-ED44-9166-319A3FBE5D63}" type="presParOf" srcId="{3058A8A3-CBA6-4A1E-B12E-4D64CB80C209}" destId="{80FDFD24-FE7D-4DFB-BA95-274F375EAE52}" srcOrd="0" destOrd="0" presId="urn:microsoft.com/office/officeart/2009/3/layout/SubStepProcess"/>
    <dgm:cxn modelId="{E9292FEE-BC34-EC40-AAC6-D126298A60D5}" type="presParOf" srcId="{3058A8A3-CBA6-4A1E-B12E-4D64CB80C209}" destId="{58E94615-0910-4C03-A385-6FAA2A5827B0}" srcOrd="1" destOrd="0" presId="urn:microsoft.com/office/officeart/2009/3/layout/SubStepProcess"/>
    <dgm:cxn modelId="{44FE47CB-A756-9649-8FEE-2116C9C9FAC6}" type="presParOf" srcId="{3058A8A3-CBA6-4A1E-B12E-4D64CB80C209}" destId="{E9ADBB0B-1054-4B0C-8EA9-8429202B98D0}" srcOrd="2" destOrd="0" presId="urn:microsoft.com/office/officeart/2009/3/layout/SubStepProcess"/>
    <dgm:cxn modelId="{31A452F1-7D3E-1B4A-A14B-69BB7807A39D}" type="presParOf" srcId="{3058A8A3-CBA6-4A1E-B12E-4D64CB80C209}" destId="{358FAFAC-9EC0-4849-93E0-72C63081B0E3}" srcOrd="3" destOrd="0" presId="urn:microsoft.com/office/officeart/2009/3/layout/SubStepProcess"/>
    <dgm:cxn modelId="{CC27D249-C099-0340-8C46-AF663BE55A17}" type="presParOf" srcId="{3058A8A3-CBA6-4A1E-B12E-4D64CB80C209}" destId="{D657EFDB-1062-4DFC-B187-23896B42DB75}" srcOrd="4" destOrd="0" presId="urn:microsoft.com/office/officeart/2009/3/layout/SubStepProcess"/>
    <dgm:cxn modelId="{C60DFDCC-D162-7346-885E-60EA2AF1307A}" type="presParOf" srcId="{20F558B3-62D1-442A-8F6D-02081418AEE5}" destId="{41029421-AED9-45D6-A3F4-1B37F49D428C}" srcOrd="69" destOrd="0" presId="urn:microsoft.com/office/officeart/2009/3/layout/SubStepProcess"/>
    <dgm:cxn modelId="{0F917431-A61C-B948-A22F-D71E623A9C63}" type="presParOf" srcId="{20F558B3-62D1-442A-8F6D-02081418AEE5}" destId="{D7AB348D-C36B-49E7-A972-985A23AC50E8}" srcOrd="70" destOrd="0" presId="urn:microsoft.com/office/officeart/2009/3/layout/SubStepProcess"/>
    <dgm:cxn modelId="{F61BC141-7912-AA4E-8CE3-57714FD88742}" type="presParOf" srcId="{20F558B3-62D1-442A-8F6D-02081418AEE5}" destId="{BE105667-3D79-46C8-B155-7B3F897F3A6B}" srcOrd="71" destOrd="0" presId="urn:microsoft.com/office/officeart/2009/3/layout/SubStepProcess"/>
    <dgm:cxn modelId="{DAB7584D-42CB-5444-BCAA-FD2020553591}" type="presParOf" srcId="{BE105667-3D79-46C8-B155-7B3F897F3A6B}" destId="{329CBBDC-8199-4480-9A77-2D40BE2A7698}" srcOrd="0" destOrd="0" presId="urn:microsoft.com/office/officeart/2009/3/layout/SubStepProcess"/>
    <dgm:cxn modelId="{C3D1B5D4-5786-A342-ABE0-77525AC6B327}" type="presParOf" srcId="{BE105667-3D79-46C8-B155-7B3F897F3A6B}" destId="{A1283B64-390B-4F77-B5ED-F90F158F7430}" srcOrd="1" destOrd="0" presId="urn:microsoft.com/office/officeart/2009/3/layout/SubStepProcess"/>
    <dgm:cxn modelId="{4B09FCC7-3CDC-BA48-AA0E-C6BE7D96BF37}" type="presParOf" srcId="{BE105667-3D79-46C8-B155-7B3F897F3A6B}" destId="{9C055834-166B-4E7C-9169-8042CD23C98C}" srcOrd="2" destOrd="0" presId="urn:microsoft.com/office/officeart/2009/3/layout/SubStepProcess"/>
    <dgm:cxn modelId="{BBD65DA5-ACFD-3E4E-9AE9-157CA2EEFC07}" type="presParOf" srcId="{BE105667-3D79-46C8-B155-7B3F897F3A6B}" destId="{F246A6EA-AB40-452C-BF1E-B9CFB814D62F}" srcOrd="3" destOrd="0" presId="urn:microsoft.com/office/officeart/2009/3/layout/SubStepProcess"/>
    <dgm:cxn modelId="{BD60CBB6-4DF9-AD4C-8B9C-3EA5B068DB8A}" type="presParOf" srcId="{BE105667-3D79-46C8-B155-7B3F897F3A6B}" destId="{334D3AEB-67DF-42D6-BA10-36DC0C1CEE15}" srcOrd="4" destOrd="0" presId="urn:microsoft.com/office/officeart/2009/3/layout/SubStepProcess"/>
    <dgm:cxn modelId="{5E571733-2AD4-8B47-AB75-2B8476509F42}" type="presParOf" srcId="{20F558B3-62D1-442A-8F6D-02081418AEE5}" destId="{B9ACAD1E-C2BC-4D1C-8AB6-FC81ECC1A39A}" srcOrd="72" destOrd="0" presId="urn:microsoft.com/office/officeart/2009/3/layout/SubStepProcess"/>
    <dgm:cxn modelId="{598C343D-260C-024D-B194-82A426B765B3}" type="presParOf" srcId="{20F558B3-62D1-442A-8F6D-02081418AEE5}" destId="{8FC9480B-1B01-4E19-B10F-A12402530236}" srcOrd="73" destOrd="0" presId="urn:microsoft.com/office/officeart/2009/3/layout/SubStepProcess"/>
    <dgm:cxn modelId="{0EAC5AB0-CCD0-B04A-90DF-26DACA0CE321}" type="presParOf" srcId="{20F558B3-62D1-442A-8F6D-02081418AEE5}" destId="{498B0A8B-EDB9-4B9F-986C-3BB2020EA46C}" srcOrd="74" destOrd="0" presId="urn:microsoft.com/office/officeart/2009/3/layout/SubStepProcess"/>
    <dgm:cxn modelId="{D404835F-3A61-9146-99A1-6737E86801E7}" type="presParOf" srcId="{498B0A8B-EDB9-4B9F-986C-3BB2020EA46C}" destId="{22AF6065-8241-4E46-898E-098B69764D83}" srcOrd="0" destOrd="0" presId="urn:microsoft.com/office/officeart/2009/3/layout/SubStepProcess"/>
    <dgm:cxn modelId="{6E607DCA-CD2E-3041-8BE0-78A4D89FA6AC}" type="presParOf" srcId="{498B0A8B-EDB9-4B9F-986C-3BB2020EA46C}" destId="{454263DC-F7A4-4B19-BE35-FE4D6CB804FE}" srcOrd="1" destOrd="0" presId="urn:microsoft.com/office/officeart/2009/3/layout/SubStepProcess"/>
    <dgm:cxn modelId="{073D7418-DA40-AD45-934E-390FAC84996C}" type="presParOf" srcId="{498B0A8B-EDB9-4B9F-986C-3BB2020EA46C}" destId="{4F9C9A65-2431-4B73-B990-3C26E6D635B4}" srcOrd="2" destOrd="0" presId="urn:microsoft.com/office/officeart/2009/3/layout/SubStepProcess"/>
    <dgm:cxn modelId="{D4634E99-3DD1-854A-A068-66245FBAF983}" type="presParOf" srcId="{498B0A8B-EDB9-4B9F-986C-3BB2020EA46C}" destId="{417AF87E-BB59-4C74-8678-9DDA9B1DF720}" srcOrd="3" destOrd="0" presId="urn:microsoft.com/office/officeart/2009/3/layout/SubStepProcess"/>
    <dgm:cxn modelId="{12F96076-9510-7E43-83D3-3A1C36562DCD}" type="presParOf" srcId="{498B0A8B-EDB9-4B9F-986C-3BB2020EA46C}" destId="{D126C95A-513D-49FF-A059-D64A144DDE1B}" srcOrd="4" destOrd="0" presId="urn:microsoft.com/office/officeart/2009/3/layout/SubStepProcess"/>
    <dgm:cxn modelId="{35C5A9A1-7813-294C-ABB4-AF279420A1E1}" type="presParOf" srcId="{20F558B3-62D1-442A-8F6D-02081418AEE5}" destId="{9EAA7263-F87C-4938-A17C-58B8CD0D1B17}" srcOrd="75" destOrd="0" presId="urn:microsoft.com/office/officeart/2009/3/layout/SubStepProcess"/>
    <dgm:cxn modelId="{42009FC0-072F-3340-9293-EAB91553B3E4}" type="presParOf" srcId="{20F558B3-62D1-442A-8F6D-02081418AEE5}" destId="{E34F1066-36F9-4201-8AF7-9ADE319E134F}" srcOrd="76" destOrd="0" presId="urn:microsoft.com/office/officeart/2009/3/layout/SubStepProcess"/>
    <dgm:cxn modelId="{9900DD7B-8166-654F-9992-EC6908401CAD}" type="presParOf" srcId="{20F558B3-62D1-442A-8F6D-02081418AEE5}" destId="{E78BB84A-839C-49BA-9F9B-CBA80C69E295}" srcOrd="77" destOrd="0" presId="urn:microsoft.com/office/officeart/2009/3/layout/SubStepProcess"/>
    <dgm:cxn modelId="{656A0C2A-98F7-E947-BF15-CD1BD5864CA3}" type="presParOf" srcId="{E78BB84A-839C-49BA-9F9B-CBA80C69E295}" destId="{A70E1F62-DA9C-43D8-A0C8-400C9643257B}" srcOrd="0" destOrd="0" presId="urn:microsoft.com/office/officeart/2009/3/layout/SubStepProcess"/>
    <dgm:cxn modelId="{B7D06820-CFA9-EE41-B508-67E14724D6B5}" type="presParOf" srcId="{E78BB84A-839C-49BA-9F9B-CBA80C69E295}" destId="{1002ABA0-3F19-4BD0-B277-F624CCA30145}" srcOrd="1" destOrd="0" presId="urn:microsoft.com/office/officeart/2009/3/layout/SubStepProcess"/>
    <dgm:cxn modelId="{0DE19DF4-61F0-7B40-9D1D-9268B1656E1C}" type="presParOf" srcId="{E78BB84A-839C-49BA-9F9B-CBA80C69E295}" destId="{E7CB4762-8395-44A9-BF42-14B29628530A}" srcOrd="2" destOrd="0" presId="urn:microsoft.com/office/officeart/2009/3/layout/SubStepProcess"/>
    <dgm:cxn modelId="{F77F94A0-1A42-994D-83AF-1B851E3D75C0}" type="presParOf" srcId="{E78BB84A-839C-49BA-9F9B-CBA80C69E295}" destId="{E61569D2-6C5A-4380-AB61-0E1FE232381E}" srcOrd="3" destOrd="0" presId="urn:microsoft.com/office/officeart/2009/3/layout/SubStepProcess"/>
    <dgm:cxn modelId="{31DEB03D-79CB-3642-8030-9C21C2BFCCB1}" type="presParOf" srcId="{E78BB84A-839C-49BA-9F9B-CBA80C69E295}" destId="{C97A3678-72D9-4B34-AAB5-E284B5BB1B7F}" srcOrd="4" destOrd="0" presId="urn:microsoft.com/office/officeart/2009/3/layout/SubStepProcess"/>
    <dgm:cxn modelId="{F8D43B04-FAF4-A844-A5B6-76896280BAFC}" type="presParOf" srcId="{20F558B3-62D1-442A-8F6D-02081418AEE5}" destId="{9F484F9A-4109-4609-B273-4ED59A4F7AFB}" srcOrd="78" destOrd="0" presId="urn:microsoft.com/office/officeart/2009/3/layout/SubStepProcess"/>
    <dgm:cxn modelId="{C66AD867-42FC-CB4C-B1BC-EF5669CBEAF4}" type="presParOf" srcId="{20F558B3-62D1-442A-8F6D-02081418AEE5}" destId="{0CFE35FF-472A-41BE-942B-582EEF79AA0A}" srcOrd="79" destOrd="0" presId="urn:microsoft.com/office/officeart/2009/3/layout/SubStepProcess"/>
    <dgm:cxn modelId="{357D0C7E-6509-2B4B-9D1B-138A0111E4F9}" type="presParOf" srcId="{20F558B3-62D1-442A-8F6D-02081418AEE5}" destId="{55033291-4DC8-4FB1-87BF-D9E0D7E6CC33}" srcOrd="80" destOrd="0" presId="urn:microsoft.com/office/officeart/2009/3/layout/SubStepProcess"/>
    <dgm:cxn modelId="{F4D08A88-5A1B-AB49-AF67-E0D30987C1A8}" type="presParOf" srcId="{55033291-4DC8-4FB1-87BF-D9E0D7E6CC33}" destId="{3C3F6EE4-18BE-4098-8066-73E086A6F342}" srcOrd="0" destOrd="0" presId="urn:microsoft.com/office/officeart/2009/3/layout/SubStepProcess"/>
    <dgm:cxn modelId="{F74155EB-91C9-6646-B6A3-A163F07A8E61}" type="presParOf" srcId="{55033291-4DC8-4FB1-87BF-D9E0D7E6CC33}" destId="{9C7360DA-B131-452F-8666-A2F5AE96F0AE}" srcOrd="1" destOrd="0" presId="urn:microsoft.com/office/officeart/2009/3/layout/SubStepProcess"/>
    <dgm:cxn modelId="{9679D9B8-8E41-654F-9115-FF43B479E196}" type="presParOf" srcId="{55033291-4DC8-4FB1-87BF-D9E0D7E6CC33}" destId="{47C44C40-5975-4890-BA69-248168E6C05A}" srcOrd="2" destOrd="0" presId="urn:microsoft.com/office/officeart/2009/3/layout/SubStepProcess"/>
    <dgm:cxn modelId="{E18757AC-57A3-1D49-8653-AD00D7FD8A85}" type="presParOf" srcId="{55033291-4DC8-4FB1-87BF-D9E0D7E6CC33}" destId="{9A89883E-8CD2-4D92-A079-C5204C130121}" srcOrd="3" destOrd="0" presId="urn:microsoft.com/office/officeart/2009/3/layout/SubStepProcess"/>
    <dgm:cxn modelId="{96E0B344-EAAB-0345-AE87-F8B9716E2C89}" type="presParOf" srcId="{55033291-4DC8-4FB1-87BF-D9E0D7E6CC33}" destId="{CF91065E-5DE0-4F84-94ED-252819156E4C}" srcOrd="4" destOrd="0" presId="urn:microsoft.com/office/officeart/2009/3/layout/SubStepProcess"/>
    <dgm:cxn modelId="{9F1B9D20-6986-2145-A05E-2EB10E92CA00}" type="presParOf" srcId="{20F558B3-62D1-442A-8F6D-02081418AEE5}" destId="{E512FC46-BC3F-438D-92E2-753EB48B84F6}" srcOrd="81" destOrd="0" presId="urn:microsoft.com/office/officeart/2009/3/layout/SubStepProcess"/>
    <dgm:cxn modelId="{C6ABFC77-A88D-1F49-BB09-52FD341D2817}" type="presParOf" srcId="{20F558B3-62D1-442A-8F6D-02081418AEE5}" destId="{65840F3B-4D74-4FB6-A1F7-3098BD8E3245}" srcOrd="82" destOrd="0" presId="urn:microsoft.com/office/officeart/2009/3/layout/SubStepProcess"/>
    <dgm:cxn modelId="{34E4971F-DFC7-144E-8776-E4C5E3DCEE2C}" type="presParOf" srcId="{20F558B3-62D1-442A-8F6D-02081418AEE5}" destId="{1344966C-BC12-4252-94D2-62DB0F94A312}" srcOrd="83" destOrd="0" presId="urn:microsoft.com/office/officeart/2009/3/layout/SubStepProcess"/>
    <dgm:cxn modelId="{96C0D45B-CFB5-EC41-BF34-699F17266DA4}" type="presParOf" srcId="{1344966C-BC12-4252-94D2-62DB0F94A312}" destId="{65DB30F5-7CFE-4C20-8D6D-A943399E7DBB}" srcOrd="0" destOrd="0" presId="urn:microsoft.com/office/officeart/2009/3/layout/SubStepProcess"/>
    <dgm:cxn modelId="{EF231152-E223-594A-A182-315ED1DA340B}" type="presParOf" srcId="{1344966C-BC12-4252-94D2-62DB0F94A312}" destId="{3716A67D-5B81-4B40-AC38-1297674C83DE}" srcOrd="1" destOrd="0" presId="urn:microsoft.com/office/officeart/2009/3/layout/SubStepProcess"/>
    <dgm:cxn modelId="{AF53D6E7-C059-4A4A-8C54-CF0B447584D1}" type="presParOf" srcId="{1344966C-BC12-4252-94D2-62DB0F94A312}" destId="{751993CB-1640-4FEB-BA94-FE83A447ED4B}" srcOrd="2" destOrd="0" presId="urn:microsoft.com/office/officeart/2009/3/layout/SubStepProcess"/>
    <dgm:cxn modelId="{86BC9AC5-1CBE-E647-8960-D30CC38CA904}" type="presParOf" srcId="{1344966C-BC12-4252-94D2-62DB0F94A312}" destId="{6B834583-E167-44CC-A079-504B3DD94979}" srcOrd="3" destOrd="0" presId="urn:microsoft.com/office/officeart/2009/3/layout/SubStepProcess"/>
    <dgm:cxn modelId="{5AB0D8EA-9766-9043-9B70-2ED078725289}" type="presParOf" srcId="{1344966C-BC12-4252-94D2-62DB0F94A312}" destId="{9E23921C-455B-4157-92C6-0F8439020DC3}" srcOrd="4" destOrd="0" presId="urn:microsoft.com/office/officeart/2009/3/layout/SubStepProcess"/>
    <dgm:cxn modelId="{E879E089-3268-AD4D-A600-389B4D122AE6}" type="presParOf" srcId="{B1344875-4773-4F11-BEC4-69EFB76B7E5F}" destId="{B56903A8-0878-4E15-A2DE-DBEC95568DE8}" srcOrd="3" destOrd="0" presId="urn:microsoft.com/office/officeart/2009/3/layout/SubStepProcess"/>
    <dgm:cxn modelId="{C7CE215F-8712-7341-A44B-4D9FC5CA9263}" type="presParOf" srcId="{B1344875-4773-4F11-BEC4-69EFB76B7E5F}" destId="{A9EFC1D7-8BE1-4F2D-8701-5971C8236BF1}" srcOrd="4" destOrd="0" presId="urn:microsoft.com/office/officeart/2009/3/layout/SubStepProcess"/>
    <dgm:cxn modelId="{FB0E193E-FF09-D04B-823F-C5CD5A72495A}" type="presParOf" srcId="{B1344875-4773-4F11-BEC4-69EFB76B7E5F}" destId="{B34EF1B2-9B96-4630-B1F1-A706716ADB7E}" srcOrd="5" destOrd="0" presId="urn:microsoft.com/office/officeart/2009/3/layout/SubStepProcess"/>
    <dgm:cxn modelId="{CC0CD8D3-B5C9-934F-AE3D-80A65340247B}" type="presParOf" srcId="{B1344875-4773-4F11-BEC4-69EFB76B7E5F}" destId="{BD319162-32B3-4E7A-A8FE-9C9031400CFB}" srcOrd="6" destOrd="0" presId="urn:microsoft.com/office/officeart/2009/3/layout/SubStepProcess"/>
    <dgm:cxn modelId="{A64457A1-89BA-0846-9D31-AE7AC22325E1}" type="presParOf" srcId="{BD319162-32B3-4E7A-A8FE-9C9031400CFB}" destId="{D70DE1A1-3CA2-4289-98A1-DE3E097DAC85}" srcOrd="0" destOrd="0" presId="urn:microsoft.com/office/officeart/2009/3/layout/SubStepProcess"/>
    <dgm:cxn modelId="{68CE6709-B6CC-E94F-A5E7-626FC69A87D0}" type="presParOf" srcId="{BD319162-32B3-4E7A-A8FE-9C9031400CFB}" destId="{60F43D0F-D860-4B41-BBF5-EE3BDB91F33E}" srcOrd="1" destOrd="0" presId="urn:microsoft.com/office/officeart/2009/3/layout/SubStepProcess"/>
    <dgm:cxn modelId="{CE932F37-2E33-E24E-BE33-10F08BFA671F}" type="presParOf" srcId="{BD319162-32B3-4E7A-A8FE-9C9031400CFB}" destId="{A3341A75-F8D8-4D3B-9E4B-46A57C4F0EA2}" srcOrd="2" destOrd="0" presId="urn:microsoft.com/office/officeart/2009/3/layout/SubStepProcess"/>
    <dgm:cxn modelId="{36F31000-9622-0349-95B5-01E38C996B97}" type="presParOf" srcId="{A3341A75-F8D8-4D3B-9E4B-46A57C4F0EA2}" destId="{8A5F15F1-C8FD-493B-8CD6-35661BEBE31F}" srcOrd="0" destOrd="0" presId="urn:microsoft.com/office/officeart/2009/3/layout/SubStepProcess"/>
    <dgm:cxn modelId="{B4E59B77-6CC6-8C4F-8FD4-B4947E3C863A}" type="presParOf" srcId="{A3341A75-F8D8-4D3B-9E4B-46A57C4F0EA2}" destId="{6020C64A-6735-4542-910B-8D81F5F29EF5}" srcOrd="1" destOrd="0" presId="urn:microsoft.com/office/officeart/2009/3/layout/SubStepProcess"/>
    <dgm:cxn modelId="{0C621DB7-0E4E-134F-B07A-2ACBFF645A07}" type="presParOf" srcId="{A3341A75-F8D8-4D3B-9E4B-46A57C4F0EA2}" destId="{49623963-0646-4EE5-8E63-9466ED32768D}" srcOrd="2" destOrd="0" presId="urn:microsoft.com/office/officeart/2009/3/layout/SubStepProcess"/>
    <dgm:cxn modelId="{E2CFA351-2AA5-CC4C-B581-506D9A7AA535}" type="presParOf" srcId="{A3341A75-F8D8-4D3B-9E4B-46A57C4F0EA2}" destId="{F49ED71A-952E-42A2-B1A7-50BADED565C0}" srcOrd="3" destOrd="0" presId="urn:microsoft.com/office/officeart/2009/3/layout/SubStepProcess"/>
    <dgm:cxn modelId="{10F23213-4BE4-3340-B2B3-61B95C0E7800}" type="presParOf" srcId="{A3341A75-F8D8-4D3B-9E4B-46A57C4F0EA2}" destId="{9D016548-EAAC-43E4-81C1-0A2980136FE0}" srcOrd="4" destOrd="0" presId="urn:microsoft.com/office/officeart/2009/3/layout/SubStepProcess"/>
    <dgm:cxn modelId="{3F39F3EB-A1E6-2749-A694-EDBF5AD3206C}" type="presParOf" srcId="{BD319162-32B3-4E7A-A8FE-9C9031400CFB}" destId="{29B537FE-DE44-4211-8912-D746C317451F}" srcOrd="3" destOrd="0" presId="urn:microsoft.com/office/officeart/2009/3/layout/SubStepProcess"/>
    <dgm:cxn modelId="{DD717727-A038-3847-B9D7-83FD08B2A1D7}" type="presParOf" srcId="{BD319162-32B3-4E7A-A8FE-9C9031400CFB}" destId="{3D0BC3BA-B796-473D-A20C-F3AF9E087AE1}" srcOrd="4" destOrd="0" presId="urn:microsoft.com/office/officeart/2009/3/layout/SubStepProcess"/>
    <dgm:cxn modelId="{C174E605-B0BD-E647-97C6-8B671275DA33}" type="presParOf" srcId="{BD319162-32B3-4E7A-A8FE-9C9031400CFB}" destId="{830FCD26-7DEC-41BF-9F3C-9F70D12317FE}" srcOrd="5" destOrd="0" presId="urn:microsoft.com/office/officeart/2009/3/layout/SubStepProcess"/>
    <dgm:cxn modelId="{1C49E394-7EC5-CF44-A69B-9F759E7B777C}" type="presParOf" srcId="{830FCD26-7DEC-41BF-9F3C-9F70D12317FE}" destId="{2F5A019B-7A20-4DF5-9869-39F9AAA0B48F}" srcOrd="0" destOrd="0" presId="urn:microsoft.com/office/officeart/2009/3/layout/SubStepProcess"/>
    <dgm:cxn modelId="{4584ACD4-262B-624F-AAC9-B1BC35EE43F2}" type="presParOf" srcId="{830FCD26-7DEC-41BF-9F3C-9F70D12317FE}" destId="{62FC6DDE-1FB6-4BBC-BBCE-7F2766C17009}" srcOrd="1" destOrd="0" presId="urn:microsoft.com/office/officeart/2009/3/layout/SubStepProcess"/>
    <dgm:cxn modelId="{864AF75F-F90A-AA4E-9A98-9187CF906DDB}" type="presParOf" srcId="{830FCD26-7DEC-41BF-9F3C-9F70D12317FE}" destId="{145EB410-236C-4095-A2F7-167DD4DF6967}" srcOrd="2" destOrd="0" presId="urn:microsoft.com/office/officeart/2009/3/layout/SubStepProcess"/>
    <dgm:cxn modelId="{43F7AF7F-FAA4-7E41-87BB-2E18F7A6637B}" type="presParOf" srcId="{830FCD26-7DEC-41BF-9F3C-9F70D12317FE}" destId="{8A2AF5FB-F8BB-4E9C-A3B5-44F2191A3712}" srcOrd="3" destOrd="0" presId="urn:microsoft.com/office/officeart/2009/3/layout/SubStepProcess"/>
    <dgm:cxn modelId="{7DDCCF39-13A7-3049-8A74-944F8B1F4B94}" type="presParOf" srcId="{830FCD26-7DEC-41BF-9F3C-9F70D12317FE}" destId="{5ADBEB02-8797-4EFA-84B8-D9E70AEA2E71}" srcOrd="4" destOrd="0" presId="urn:microsoft.com/office/officeart/2009/3/layout/SubStepProcess"/>
    <dgm:cxn modelId="{76ACEDA5-8AB0-8D49-8F64-F1E2A2150881}" type="presParOf" srcId="{BD319162-32B3-4E7A-A8FE-9C9031400CFB}" destId="{505545CE-7A7D-4186-90F0-A5989DD22D0E}" srcOrd="6" destOrd="0" presId="urn:microsoft.com/office/officeart/2009/3/layout/SubStepProcess"/>
    <dgm:cxn modelId="{51D2796F-4EF7-D441-BDFE-85700376211F}" type="presParOf" srcId="{BD319162-32B3-4E7A-A8FE-9C9031400CFB}" destId="{DCCB9791-97D2-43A4-8929-941809B0A5F1}" srcOrd="7" destOrd="0" presId="urn:microsoft.com/office/officeart/2009/3/layout/SubStepProcess"/>
    <dgm:cxn modelId="{E62B64C7-470C-174C-BFC6-8CEB5AA2D013}" type="presParOf" srcId="{BD319162-32B3-4E7A-A8FE-9C9031400CFB}" destId="{E84A5697-9B4B-4AD5-933E-623B7476C5C8}" srcOrd="8" destOrd="0" presId="urn:microsoft.com/office/officeart/2009/3/layout/SubStepProcess"/>
    <dgm:cxn modelId="{4E08C0C5-F13A-4C40-B815-9E08A85BA2D6}" type="presParOf" srcId="{E84A5697-9B4B-4AD5-933E-623B7476C5C8}" destId="{3117C9BB-31D0-4DA6-A58B-7E648A6C73E2}" srcOrd="0" destOrd="0" presId="urn:microsoft.com/office/officeart/2009/3/layout/SubStepProcess"/>
    <dgm:cxn modelId="{F8EA9183-E748-A34F-B284-4D33172826CB}" type="presParOf" srcId="{E84A5697-9B4B-4AD5-933E-623B7476C5C8}" destId="{9A4546A4-B864-4079-9704-FF267A69D66C}" srcOrd="1" destOrd="0" presId="urn:microsoft.com/office/officeart/2009/3/layout/SubStepProcess"/>
    <dgm:cxn modelId="{7D391978-E05B-3240-8A45-23CFA1FABE2F}" type="presParOf" srcId="{E84A5697-9B4B-4AD5-933E-623B7476C5C8}" destId="{307F5450-C9B2-451B-9488-CDB8FDFBCE3E}" srcOrd="2" destOrd="0" presId="urn:microsoft.com/office/officeart/2009/3/layout/SubStepProcess"/>
    <dgm:cxn modelId="{1018D10D-3816-0941-BCBB-9F7043420D62}" type="presParOf" srcId="{E84A5697-9B4B-4AD5-933E-623B7476C5C8}" destId="{42B29999-E830-48D3-9636-F1ABA5ED1FD8}" srcOrd="3" destOrd="0" presId="urn:microsoft.com/office/officeart/2009/3/layout/SubStepProcess"/>
    <dgm:cxn modelId="{0979062B-58EC-E843-BD57-235828AE1523}" type="presParOf" srcId="{E84A5697-9B4B-4AD5-933E-623B7476C5C8}" destId="{6D979B53-D9FF-44B4-AC38-BF5BE720D744}" srcOrd="4" destOrd="0" presId="urn:microsoft.com/office/officeart/2009/3/layout/SubStepProcess"/>
    <dgm:cxn modelId="{4F0A463E-B0B6-4149-B6D0-3979BFABA0A0}" type="presParOf" srcId="{BD319162-32B3-4E7A-A8FE-9C9031400CFB}" destId="{C8EF4E8D-C5A2-47CB-B230-F09C88B0385F}" srcOrd="9" destOrd="0" presId="urn:microsoft.com/office/officeart/2009/3/layout/SubStepProcess"/>
    <dgm:cxn modelId="{00DCA377-D744-AB41-ABCD-65E0DE9C3C4F}" type="presParOf" srcId="{BD319162-32B3-4E7A-A8FE-9C9031400CFB}" destId="{EB63DBC4-4685-45AD-9A63-1FAE29A8F046}" srcOrd="10" destOrd="0" presId="urn:microsoft.com/office/officeart/2009/3/layout/SubStepProcess"/>
    <dgm:cxn modelId="{6B2E6DEF-72C2-464B-9D87-17088CA1D39B}" type="presParOf" srcId="{BD319162-32B3-4E7A-A8FE-9C9031400CFB}" destId="{9CAE5E97-7FB5-4BCD-863A-C8DEDE405018}" srcOrd="11" destOrd="0" presId="urn:microsoft.com/office/officeart/2009/3/layout/SubStepProcess"/>
    <dgm:cxn modelId="{4C9FB34E-33E8-A648-BD2B-85CC455A383D}" type="presParOf" srcId="{9CAE5E97-7FB5-4BCD-863A-C8DEDE405018}" destId="{EC1230F9-6EE1-4B99-A2CF-39D1D2CBDCFC}" srcOrd="0" destOrd="0" presId="urn:microsoft.com/office/officeart/2009/3/layout/SubStepProcess"/>
    <dgm:cxn modelId="{1ECC30E6-DC9E-BE45-83C7-3FCE759EE665}" type="presParOf" srcId="{9CAE5E97-7FB5-4BCD-863A-C8DEDE405018}" destId="{48E8ABC4-7C03-4CC3-BC6D-EAEF34D22D59}" srcOrd="1" destOrd="0" presId="urn:microsoft.com/office/officeart/2009/3/layout/SubStepProcess"/>
    <dgm:cxn modelId="{1208B54B-2E4E-FB4D-8DDE-6210C14C24FB}" type="presParOf" srcId="{9CAE5E97-7FB5-4BCD-863A-C8DEDE405018}" destId="{F56E1712-FE95-428A-AD7D-65559F1A546E}" srcOrd="2" destOrd="0" presId="urn:microsoft.com/office/officeart/2009/3/layout/SubStepProcess"/>
    <dgm:cxn modelId="{AEE6485E-8DFA-4C47-81F9-B7FFE07CC33E}" type="presParOf" srcId="{9CAE5E97-7FB5-4BCD-863A-C8DEDE405018}" destId="{63FE4589-E40A-4563-B997-AC9F09C77F87}" srcOrd="3" destOrd="0" presId="urn:microsoft.com/office/officeart/2009/3/layout/SubStepProcess"/>
    <dgm:cxn modelId="{FAC2DB87-FEF6-CE46-A14F-FC41F32C39C3}" type="presParOf" srcId="{9CAE5E97-7FB5-4BCD-863A-C8DEDE405018}" destId="{BF28D1D9-0EA9-49B8-925E-A2F2E8CD1468}" srcOrd="4" destOrd="0" presId="urn:microsoft.com/office/officeart/2009/3/layout/SubStepProcess"/>
    <dgm:cxn modelId="{8A8DE5A8-F549-8641-888C-DDF65BE521C2}" type="presParOf" srcId="{BD319162-32B3-4E7A-A8FE-9C9031400CFB}" destId="{282D0D80-28F4-4ADD-92CF-2EC43345C472}" srcOrd="12" destOrd="0" presId="urn:microsoft.com/office/officeart/2009/3/layout/SubStepProcess"/>
    <dgm:cxn modelId="{930B901B-7E8F-E24F-94E3-4BD49F768B3A}" type="presParOf" srcId="{BD319162-32B3-4E7A-A8FE-9C9031400CFB}" destId="{B54E6265-EC5A-4180-B2A1-A5DB8F375330}" srcOrd="13" destOrd="0" presId="urn:microsoft.com/office/officeart/2009/3/layout/SubStepProcess"/>
    <dgm:cxn modelId="{4FB80C32-68AE-8547-BEDF-E7AAB17BEF19}" type="presParOf" srcId="{BD319162-32B3-4E7A-A8FE-9C9031400CFB}" destId="{13CDF389-E30E-410B-A907-104578ABDC0F}" srcOrd="14" destOrd="0" presId="urn:microsoft.com/office/officeart/2009/3/layout/SubStepProcess"/>
    <dgm:cxn modelId="{AF107CC1-AF02-2648-8BBD-7A8EEB504F40}" type="presParOf" srcId="{13CDF389-E30E-410B-A907-104578ABDC0F}" destId="{75AA4087-FE93-47A7-A874-D9C07353555C}" srcOrd="0" destOrd="0" presId="urn:microsoft.com/office/officeart/2009/3/layout/SubStepProcess"/>
    <dgm:cxn modelId="{93D5CE2F-22FA-9840-84C3-63A2BF1DA8CF}" type="presParOf" srcId="{13CDF389-E30E-410B-A907-104578ABDC0F}" destId="{6AAC9F54-D38E-4A09-96DF-76ED51BF76CB}" srcOrd="1" destOrd="0" presId="urn:microsoft.com/office/officeart/2009/3/layout/SubStepProcess"/>
    <dgm:cxn modelId="{A30130BB-5F20-9144-B8C1-7E2FEBCCD446}" type="presParOf" srcId="{13CDF389-E30E-410B-A907-104578ABDC0F}" destId="{9B807556-F9FF-48C2-A670-692F77995FDA}" srcOrd="2" destOrd="0" presId="urn:microsoft.com/office/officeart/2009/3/layout/SubStepProcess"/>
    <dgm:cxn modelId="{B2AEBFFB-69F8-E14D-8BFE-A6D72C0F4192}" type="presParOf" srcId="{13CDF389-E30E-410B-A907-104578ABDC0F}" destId="{A8BA4F54-3851-45E2-A0C3-A983235BD595}" srcOrd="3" destOrd="0" presId="urn:microsoft.com/office/officeart/2009/3/layout/SubStepProcess"/>
    <dgm:cxn modelId="{D377FFE3-776E-714D-B8C4-817A31104422}" type="presParOf" srcId="{13CDF389-E30E-410B-A907-104578ABDC0F}" destId="{4875C281-A5D2-4226-B999-7A66A3EF29BB}" srcOrd="4" destOrd="0" presId="urn:microsoft.com/office/officeart/2009/3/layout/SubStepProcess"/>
    <dgm:cxn modelId="{5B5ECF2C-70CF-7344-AFDC-E5C0C3C84D87}" type="presParOf" srcId="{BD319162-32B3-4E7A-A8FE-9C9031400CFB}" destId="{381D6F0D-7E4A-4FD9-BF6B-37C460F104C5}" srcOrd="15" destOrd="0" presId="urn:microsoft.com/office/officeart/2009/3/layout/SubStepProcess"/>
    <dgm:cxn modelId="{2526EEFD-8CD9-BC49-A2C4-0C38C5C0191C}" type="presParOf" srcId="{BD319162-32B3-4E7A-A8FE-9C9031400CFB}" destId="{FD9519DD-DE84-4E9A-871A-A6A6CD28DD52}" srcOrd="16" destOrd="0" presId="urn:microsoft.com/office/officeart/2009/3/layout/SubStepProcess"/>
    <dgm:cxn modelId="{7519CD19-A520-3049-A23F-3DCA7D5F12E7}" type="presParOf" srcId="{BD319162-32B3-4E7A-A8FE-9C9031400CFB}" destId="{6CBE3D45-87A3-4F42-8082-67075804EDDE}" srcOrd="17" destOrd="0" presId="urn:microsoft.com/office/officeart/2009/3/layout/SubStepProcess"/>
    <dgm:cxn modelId="{52E9A722-56AA-D942-81D4-847623C5187B}" type="presParOf" srcId="{6CBE3D45-87A3-4F42-8082-67075804EDDE}" destId="{7F020FBE-647B-4249-9D5C-8AADB03AA70C}" srcOrd="0" destOrd="0" presId="urn:microsoft.com/office/officeart/2009/3/layout/SubStepProcess"/>
    <dgm:cxn modelId="{1B6A60CB-6695-9A48-9836-C3A4977307C0}" type="presParOf" srcId="{6CBE3D45-87A3-4F42-8082-67075804EDDE}" destId="{671B58DD-F42F-41C3-90EC-1F8644E2E0ED}" srcOrd="1" destOrd="0" presId="urn:microsoft.com/office/officeart/2009/3/layout/SubStepProcess"/>
    <dgm:cxn modelId="{19E1CFDB-D1C5-0A4E-B639-CA79DF2424E1}" type="presParOf" srcId="{6CBE3D45-87A3-4F42-8082-67075804EDDE}" destId="{51B10809-177C-46BE-8758-723F3FE2B08A}" srcOrd="2" destOrd="0" presId="urn:microsoft.com/office/officeart/2009/3/layout/SubStepProcess"/>
    <dgm:cxn modelId="{D5A7AA2C-F2B0-8745-96AB-1BBD0206D586}" type="presParOf" srcId="{6CBE3D45-87A3-4F42-8082-67075804EDDE}" destId="{19168486-C987-44BC-9278-3784C0323F7A}" srcOrd="3" destOrd="0" presId="urn:microsoft.com/office/officeart/2009/3/layout/SubStepProcess"/>
    <dgm:cxn modelId="{6FF370B2-3B13-F849-8022-325632BF0F57}" type="presParOf" srcId="{6CBE3D45-87A3-4F42-8082-67075804EDDE}" destId="{232335E7-F634-4677-BB63-77078A4E6743}" srcOrd="4" destOrd="0" presId="urn:microsoft.com/office/officeart/2009/3/layout/SubStepProcess"/>
    <dgm:cxn modelId="{948B96AC-F85C-394E-8A7D-2370357A8A13}" type="presParOf" srcId="{BD319162-32B3-4E7A-A8FE-9C9031400CFB}" destId="{F7337EE0-6922-4AAD-88A9-2EF061017558}" srcOrd="18" destOrd="0" presId="urn:microsoft.com/office/officeart/2009/3/layout/SubStepProcess"/>
    <dgm:cxn modelId="{F1FC2527-4B22-7F45-ADDA-F148AC7CEFFC}" type="presParOf" srcId="{BD319162-32B3-4E7A-A8FE-9C9031400CFB}" destId="{DBC5077F-28AA-4DF7-931A-9DC4F0ADBFD1}" srcOrd="19" destOrd="0" presId="urn:microsoft.com/office/officeart/2009/3/layout/SubStepProcess"/>
    <dgm:cxn modelId="{F293EBE6-E20D-5E48-9EAE-0391A298242F}" type="presParOf" srcId="{BD319162-32B3-4E7A-A8FE-9C9031400CFB}" destId="{2329D841-3FDB-448C-89D5-590B9C60F676}" srcOrd="20" destOrd="0" presId="urn:microsoft.com/office/officeart/2009/3/layout/SubStepProcess"/>
    <dgm:cxn modelId="{E1D34465-EB46-B741-A495-CF9E6AF01349}" type="presParOf" srcId="{2329D841-3FDB-448C-89D5-590B9C60F676}" destId="{D639322E-A11A-45C0-BC50-4BE3FC43F7A0}" srcOrd="0" destOrd="0" presId="urn:microsoft.com/office/officeart/2009/3/layout/SubStepProcess"/>
    <dgm:cxn modelId="{4052822A-F355-B742-9808-33BB1376E5DC}" type="presParOf" srcId="{2329D841-3FDB-448C-89D5-590B9C60F676}" destId="{E96760FC-FE4B-4708-A282-EA7D4C58D47F}" srcOrd="1" destOrd="0" presId="urn:microsoft.com/office/officeart/2009/3/layout/SubStepProcess"/>
    <dgm:cxn modelId="{32B386B7-508A-EB43-B79F-5D449DF96404}" type="presParOf" srcId="{2329D841-3FDB-448C-89D5-590B9C60F676}" destId="{2FEE5AB2-8809-410F-937C-68681CAE0EEE}" srcOrd="2" destOrd="0" presId="urn:microsoft.com/office/officeart/2009/3/layout/SubStepProcess"/>
    <dgm:cxn modelId="{057797A8-8E04-1B4E-97BC-61826572FD1F}" type="presParOf" srcId="{2329D841-3FDB-448C-89D5-590B9C60F676}" destId="{3C836BC8-DFEF-45D6-B8EF-59015ABC36ED}" srcOrd="3" destOrd="0" presId="urn:microsoft.com/office/officeart/2009/3/layout/SubStepProcess"/>
    <dgm:cxn modelId="{4E967936-FE24-8C4F-B774-079E6369314E}" type="presParOf" srcId="{2329D841-3FDB-448C-89D5-590B9C60F676}" destId="{1E180115-E995-4F59-A1BA-22A480A038EF}" srcOrd="4" destOrd="0" presId="urn:microsoft.com/office/officeart/2009/3/layout/SubStepProcess"/>
    <dgm:cxn modelId="{44BAD69E-D3D7-D045-B0E5-E674C956302D}" type="presParOf" srcId="{BD319162-32B3-4E7A-A8FE-9C9031400CFB}" destId="{91649A4B-899E-4B0B-BAB9-D1E03FBBD4AA}" srcOrd="21" destOrd="0" presId="urn:microsoft.com/office/officeart/2009/3/layout/SubStepProcess"/>
    <dgm:cxn modelId="{5AA86850-08DA-5D4B-8541-33518FB4DDB1}" type="presParOf" srcId="{BD319162-32B3-4E7A-A8FE-9C9031400CFB}" destId="{CE97B9B0-9A99-46C1-9EDE-2D2AE6FC87E0}" srcOrd="22" destOrd="0" presId="urn:microsoft.com/office/officeart/2009/3/layout/SubStepProcess"/>
    <dgm:cxn modelId="{08D8F818-DAF8-9443-98E2-CF2FA8A312E8}" type="presParOf" srcId="{BD319162-32B3-4E7A-A8FE-9C9031400CFB}" destId="{C7CEFB5E-027B-4385-BE6F-15C549CE9C30}" srcOrd="23" destOrd="0" presId="urn:microsoft.com/office/officeart/2009/3/layout/SubStepProcess"/>
    <dgm:cxn modelId="{B6E32B71-9731-4E43-8C33-36FC12D5C62E}" type="presParOf" srcId="{C7CEFB5E-027B-4385-BE6F-15C549CE9C30}" destId="{98F8BA63-E29C-4121-967F-7254058532EE}" srcOrd="0" destOrd="0" presId="urn:microsoft.com/office/officeart/2009/3/layout/SubStepProcess"/>
    <dgm:cxn modelId="{43102389-3EE1-F94A-92B8-F2CB2A515CA8}" type="presParOf" srcId="{C7CEFB5E-027B-4385-BE6F-15C549CE9C30}" destId="{A3912A7A-A9E9-419E-AAA9-D83C6AF609B5}" srcOrd="1" destOrd="0" presId="urn:microsoft.com/office/officeart/2009/3/layout/SubStepProcess"/>
    <dgm:cxn modelId="{650C5C6B-381B-A741-A863-94E17CD137F4}" type="presParOf" srcId="{C7CEFB5E-027B-4385-BE6F-15C549CE9C30}" destId="{F569C344-933A-4513-BC0C-AFD57CD48BF0}" srcOrd="2" destOrd="0" presId="urn:microsoft.com/office/officeart/2009/3/layout/SubStepProcess"/>
    <dgm:cxn modelId="{1AF9FE44-C6A7-154B-9A7A-E5C608770BF9}" type="presParOf" srcId="{C7CEFB5E-027B-4385-BE6F-15C549CE9C30}" destId="{E1798DCD-694D-4EAE-A0B4-3181F8768637}" srcOrd="3" destOrd="0" presId="urn:microsoft.com/office/officeart/2009/3/layout/SubStepProcess"/>
    <dgm:cxn modelId="{F7A7901E-19B7-2D4D-B334-D96B1D4BAA5F}" type="presParOf" srcId="{C7CEFB5E-027B-4385-BE6F-15C549CE9C30}" destId="{6C7EC45E-E7AC-4D16-9E16-DD02F567B563}" srcOrd="4" destOrd="0" presId="urn:microsoft.com/office/officeart/2009/3/layout/SubStepProcess"/>
    <dgm:cxn modelId="{7C2EA8D5-BE55-1145-8603-5ED0BA406345}" type="presParOf" srcId="{BD319162-32B3-4E7A-A8FE-9C9031400CFB}" destId="{B4DB6644-8A0E-4D48-8271-8DAE90AA7C08}" srcOrd="24" destOrd="0" presId="urn:microsoft.com/office/officeart/2009/3/layout/SubStepProcess"/>
    <dgm:cxn modelId="{741C8B1C-79CC-2648-A6C2-CD289596C3DC}" type="presParOf" srcId="{BD319162-32B3-4E7A-A8FE-9C9031400CFB}" destId="{38C19BA7-6DBC-4A5E-8489-0C8E34E0789C}" srcOrd="25" destOrd="0" presId="urn:microsoft.com/office/officeart/2009/3/layout/SubStepProcess"/>
    <dgm:cxn modelId="{B8B8379A-3988-A64F-AAFB-121568F112DD}" type="presParOf" srcId="{BD319162-32B3-4E7A-A8FE-9C9031400CFB}" destId="{61D43235-4A39-4AC8-937A-25C83D0C53BA}" srcOrd="26" destOrd="0" presId="urn:microsoft.com/office/officeart/2009/3/layout/SubStepProcess"/>
    <dgm:cxn modelId="{6F40D1ED-EF78-D64C-9ED6-31899C46FEA3}" type="presParOf" srcId="{61D43235-4A39-4AC8-937A-25C83D0C53BA}" destId="{DA87B723-9A74-4B3A-8F0B-D27D26454133}" srcOrd="0" destOrd="0" presId="urn:microsoft.com/office/officeart/2009/3/layout/SubStepProcess"/>
    <dgm:cxn modelId="{B9B2881E-E908-664C-B23B-E4A87A1C71B3}" type="presParOf" srcId="{61D43235-4A39-4AC8-937A-25C83D0C53BA}" destId="{8E2F1671-52F6-45E1-A2D9-8A4E7018B569}" srcOrd="1" destOrd="0" presId="urn:microsoft.com/office/officeart/2009/3/layout/SubStepProcess"/>
    <dgm:cxn modelId="{FDCB873D-0899-2443-BBC9-C08434CABCED}" type="presParOf" srcId="{61D43235-4A39-4AC8-937A-25C83D0C53BA}" destId="{6B0313F2-D8B9-4979-A8CA-CF407D879479}" srcOrd="2" destOrd="0" presId="urn:microsoft.com/office/officeart/2009/3/layout/SubStepProcess"/>
    <dgm:cxn modelId="{D9685E0B-5EB5-D548-87E2-54D307FF9A9E}" type="presParOf" srcId="{61D43235-4A39-4AC8-937A-25C83D0C53BA}" destId="{37A493F1-C17D-48CC-B65F-55AB9ED3DE64}" srcOrd="3" destOrd="0" presId="urn:microsoft.com/office/officeart/2009/3/layout/SubStepProcess"/>
    <dgm:cxn modelId="{74756DBF-2611-0445-B399-295A4AAE4EA1}" type="presParOf" srcId="{61D43235-4A39-4AC8-937A-25C83D0C53BA}" destId="{69FE835E-959A-40BA-A551-2AAC17DC2448}" srcOrd="4" destOrd="0" presId="urn:microsoft.com/office/officeart/2009/3/layout/SubStepProcess"/>
    <dgm:cxn modelId="{D7F81CE2-BDBA-9F4A-BDB5-0C940D337A98}" type="presParOf" srcId="{BD319162-32B3-4E7A-A8FE-9C9031400CFB}" destId="{A0AA9F9D-4641-437B-B3E0-32FC081C428E}" srcOrd="27" destOrd="0" presId="urn:microsoft.com/office/officeart/2009/3/layout/SubStepProcess"/>
    <dgm:cxn modelId="{E98F1088-EC10-9B4D-B3A3-7A148F5B4588}" type="presParOf" srcId="{BD319162-32B3-4E7A-A8FE-9C9031400CFB}" destId="{21FA5B6C-BD3D-4609-89E2-1816426CFDF9}" srcOrd="28" destOrd="0" presId="urn:microsoft.com/office/officeart/2009/3/layout/SubStepProcess"/>
    <dgm:cxn modelId="{5B789B02-D21A-A043-939C-541B0D01B832}" type="presParOf" srcId="{BD319162-32B3-4E7A-A8FE-9C9031400CFB}" destId="{5EB33ACA-485C-483C-8218-5669078CDA9E}" srcOrd="29" destOrd="0" presId="urn:microsoft.com/office/officeart/2009/3/layout/SubStepProcess"/>
    <dgm:cxn modelId="{D09E7BB0-50AA-D244-8B13-FD7F7E00D284}" type="presParOf" srcId="{5EB33ACA-485C-483C-8218-5669078CDA9E}" destId="{BC55ADFF-E66E-4BB9-848F-D44406430E93}" srcOrd="0" destOrd="0" presId="urn:microsoft.com/office/officeart/2009/3/layout/SubStepProcess"/>
    <dgm:cxn modelId="{8AFB2B10-C46C-3940-86FF-58D4DC8849DA}" type="presParOf" srcId="{5EB33ACA-485C-483C-8218-5669078CDA9E}" destId="{CE6052B7-AA5B-487E-BD73-67F20606C992}" srcOrd="1" destOrd="0" presId="urn:microsoft.com/office/officeart/2009/3/layout/SubStepProcess"/>
    <dgm:cxn modelId="{3A470766-D1E5-0249-8BBD-E7E70E360AE4}" type="presParOf" srcId="{5EB33ACA-485C-483C-8218-5669078CDA9E}" destId="{F51EF1A6-3E6E-43A3-910C-8760DAE8C8A8}" srcOrd="2" destOrd="0" presId="urn:microsoft.com/office/officeart/2009/3/layout/SubStepProcess"/>
    <dgm:cxn modelId="{62B1598F-B2BB-9446-9CCC-CEA4F3D6B9E4}" type="presParOf" srcId="{5EB33ACA-485C-483C-8218-5669078CDA9E}" destId="{714789D2-B9E4-4787-B14D-5258B1A17AC1}" srcOrd="3" destOrd="0" presId="urn:microsoft.com/office/officeart/2009/3/layout/SubStepProcess"/>
    <dgm:cxn modelId="{C8BA4CB7-DD09-FA44-B276-2BA56FFAA104}" type="presParOf" srcId="{5EB33ACA-485C-483C-8218-5669078CDA9E}" destId="{85782311-6E56-4D2B-B116-A5B046AA33AE}" srcOrd="4" destOrd="0" presId="urn:microsoft.com/office/officeart/2009/3/layout/SubStepProcess"/>
    <dgm:cxn modelId="{97D7A3CA-F808-CE42-96D0-72D65FC77057}" type="presParOf" srcId="{BD319162-32B3-4E7A-A8FE-9C9031400CFB}" destId="{68E48C44-8421-4B47-9B82-BD1AB58792A2}" srcOrd="30" destOrd="0" presId="urn:microsoft.com/office/officeart/2009/3/layout/SubStepProcess"/>
    <dgm:cxn modelId="{E02D25AA-B3B5-D446-9850-47321520F9B6}" type="presParOf" srcId="{BD319162-32B3-4E7A-A8FE-9C9031400CFB}" destId="{DA7E92F7-50C8-45DD-B507-4CEF49595E7C}" srcOrd="31" destOrd="0" presId="urn:microsoft.com/office/officeart/2009/3/layout/SubStepProcess"/>
    <dgm:cxn modelId="{2389AA78-2FF0-504B-A72C-BF3E47D7409D}" type="presParOf" srcId="{BD319162-32B3-4E7A-A8FE-9C9031400CFB}" destId="{030F32C8-1E30-4334-AECB-55BE7C3DB77F}" srcOrd="32" destOrd="0" presId="urn:microsoft.com/office/officeart/2009/3/layout/SubStepProcess"/>
    <dgm:cxn modelId="{344CCA00-35D8-6A4A-BC04-B158F6A03929}" type="presParOf" srcId="{030F32C8-1E30-4334-AECB-55BE7C3DB77F}" destId="{78CC068C-BE16-478C-9965-A8D9A7143788}" srcOrd="0" destOrd="0" presId="urn:microsoft.com/office/officeart/2009/3/layout/SubStepProcess"/>
    <dgm:cxn modelId="{273EBF13-00F0-1440-9180-2F1229984F3A}" type="presParOf" srcId="{030F32C8-1E30-4334-AECB-55BE7C3DB77F}" destId="{6893DB47-B800-458C-AF6C-90DEF993ECD2}" srcOrd="1" destOrd="0" presId="urn:microsoft.com/office/officeart/2009/3/layout/SubStepProcess"/>
    <dgm:cxn modelId="{897776E1-BD3E-1742-B8BE-05EBD062FEA3}" type="presParOf" srcId="{030F32C8-1E30-4334-AECB-55BE7C3DB77F}" destId="{28BCC0FC-B168-4B59-831F-B0CED43BD59D}" srcOrd="2" destOrd="0" presId="urn:microsoft.com/office/officeart/2009/3/layout/SubStepProcess"/>
    <dgm:cxn modelId="{8F8104D2-580B-E443-9BDE-C7E50905568E}" type="presParOf" srcId="{030F32C8-1E30-4334-AECB-55BE7C3DB77F}" destId="{3CC71BB9-B0C9-4297-94D1-F1660B5DCB67}" srcOrd="3" destOrd="0" presId="urn:microsoft.com/office/officeart/2009/3/layout/SubStepProcess"/>
    <dgm:cxn modelId="{2FD7F126-FD58-734E-9F0C-13EBB304D406}" type="presParOf" srcId="{030F32C8-1E30-4334-AECB-55BE7C3DB77F}" destId="{EB8DFE61-50B0-4941-999C-F6D0CEEC98E5}" srcOrd="4" destOrd="0" presId="urn:microsoft.com/office/officeart/2009/3/layout/SubStepProcess"/>
    <dgm:cxn modelId="{2CC6DF2E-7C2C-2745-B202-36CB4F58F900}" type="presParOf" srcId="{BD319162-32B3-4E7A-A8FE-9C9031400CFB}" destId="{868A9B81-5603-4867-80F5-6AA3CB3DA702}" srcOrd="33" destOrd="0" presId="urn:microsoft.com/office/officeart/2009/3/layout/SubStepProcess"/>
    <dgm:cxn modelId="{CF6696E7-9A4E-BB4B-9468-EC562C3FEA34}" type="presParOf" srcId="{BD319162-32B3-4E7A-A8FE-9C9031400CFB}" destId="{8C9D3083-74BF-4924-AC38-62FF6ECE7A57}" srcOrd="34" destOrd="0" presId="urn:microsoft.com/office/officeart/2009/3/layout/SubStepProcess"/>
    <dgm:cxn modelId="{B2447860-80B2-194A-A111-D8F4A838FB63}" type="presParOf" srcId="{BD319162-32B3-4E7A-A8FE-9C9031400CFB}" destId="{03CCA411-C49A-492B-A375-7344D31B0482}" srcOrd="35" destOrd="0" presId="urn:microsoft.com/office/officeart/2009/3/layout/SubStepProcess"/>
    <dgm:cxn modelId="{8B616D63-E6F8-7B48-8592-4097D419616F}" type="presParOf" srcId="{03CCA411-C49A-492B-A375-7344D31B0482}" destId="{2E650C65-5350-48BC-81E8-F8C94080FE76}" srcOrd="0" destOrd="0" presId="urn:microsoft.com/office/officeart/2009/3/layout/SubStepProcess"/>
    <dgm:cxn modelId="{2A7E7716-93E9-EC45-AE61-138EECA5CC66}" type="presParOf" srcId="{03CCA411-C49A-492B-A375-7344D31B0482}" destId="{8E3BC27D-87EE-4716-B822-1A26246AF3FC}" srcOrd="1" destOrd="0" presId="urn:microsoft.com/office/officeart/2009/3/layout/SubStepProcess"/>
    <dgm:cxn modelId="{0E869C3D-4C0F-2240-8011-A36DB149086A}" type="presParOf" srcId="{03CCA411-C49A-492B-A375-7344D31B0482}" destId="{4706E6B7-CF15-49C9-9B84-10419488D51F}" srcOrd="2" destOrd="0" presId="urn:microsoft.com/office/officeart/2009/3/layout/SubStepProcess"/>
    <dgm:cxn modelId="{AB86A474-43D4-0049-805C-F930E8BE0D10}" type="presParOf" srcId="{03CCA411-C49A-492B-A375-7344D31B0482}" destId="{2646FB80-5482-41EA-991C-700E1BEAE988}" srcOrd="3" destOrd="0" presId="urn:microsoft.com/office/officeart/2009/3/layout/SubStepProcess"/>
    <dgm:cxn modelId="{E9D9B4F2-2656-A544-85F6-6A5A9C39EA88}" type="presParOf" srcId="{03CCA411-C49A-492B-A375-7344D31B0482}" destId="{E1ACFC3B-55C9-424A-BF73-F493778566B6}" srcOrd="4" destOrd="0" presId="urn:microsoft.com/office/officeart/2009/3/layout/SubStepProcess"/>
    <dgm:cxn modelId="{5E1C6A0E-FD4C-1F45-8CBB-58830A36F09B}" type="presParOf" srcId="{BD319162-32B3-4E7A-A8FE-9C9031400CFB}" destId="{04859A99-2A03-41EE-AFD6-F7AC5BC37879}" srcOrd="36" destOrd="0" presId="urn:microsoft.com/office/officeart/2009/3/layout/SubStepProcess"/>
    <dgm:cxn modelId="{0F145F0F-B897-C14B-AD6D-79A3A103C78A}" type="presParOf" srcId="{BD319162-32B3-4E7A-A8FE-9C9031400CFB}" destId="{70FD36A8-9B76-4FA9-93B7-51A1E58A2E39}" srcOrd="37" destOrd="0" presId="urn:microsoft.com/office/officeart/2009/3/layout/SubStepProcess"/>
    <dgm:cxn modelId="{79884B06-8120-7B48-8556-80E1BD1113FC}" type="presParOf" srcId="{BD319162-32B3-4E7A-A8FE-9C9031400CFB}" destId="{597216AA-BCF2-4B5F-BEF2-B190CBCA9AD4}" srcOrd="38" destOrd="0" presId="urn:microsoft.com/office/officeart/2009/3/layout/SubStepProcess"/>
    <dgm:cxn modelId="{098C0DC2-5DB5-C742-BF7F-E53038169452}" type="presParOf" srcId="{597216AA-BCF2-4B5F-BEF2-B190CBCA9AD4}" destId="{AF7D8DC9-2AF5-4EF4-99DF-B35292E6F4D5}" srcOrd="0" destOrd="0" presId="urn:microsoft.com/office/officeart/2009/3/layout/SubStepProcess"/>
    <dgm:cxn modelId="{A98CDCBC-1C33-574F-8FA4-258863E1E368}" type="presParOf" srcId="{597216AA-BCF2-4B5F-BEF2-B190CBCA9AD4}" destId="{86ADD8A5-B74E-4156-98ED-B9BC04903DC9}" srcOrd="1" destOrd="0" presId="urn:microsoft.com/office/officeart/2009/3/layout/SubStepProcess"/>
    <dgm:cxn modelId="{E09E06CB-FF9D-CB4D-ADE2-0E2F56B513BF}" type="presParOf" srcId="{597216AA-BCF2-4B5F-BEF2-B190CBCA9AD4}" destId="{8588FAE1-E2E5-426C-A1F5-AFCF99A0C07F}" srcOrd="2" destOrd="0" presId="urn:microsoft.com/office/officeart/2009/3/layout/SubStepProcess"/>
    <dgm:cxn modelId="{811ABF97-718B-5B44-B22D-89DEC5C94F16}" type="presParOf" srcId="{597216AA-BCF2-4B5F-BEF2-B190CBCA9AD4}" destId="{1A320285-F1F0-4098-B378-F46F92806B36}" srcOrd="3" destOrd="0" presId="urn:microsoft.com/office/officeart/2009/3/layout/SubStepProcess"/>
    <dgm:cxn modelId="{B2A6D574-A756-A440-BF69-B4B4A5C23C87}" type="presParOf" srcId="{597216AA-BCF2-4B5F-BEF2-B190CBCA9AD4}" destId="{611C0E2B-DEBC-4593-BE0A-0C7C2A9C13B8}" srcOrd="4" destOrd="0" presId="urn:microsoft.com/office/officeart/2009/3/layout/SubStepProcess"/>
    <dgm:cxn modelId="{1C27E92C-7802-E744-AD4D-BA7D5EE913A6}" type="presParOf" srcId="{BD319162-32B3-4E7A-A8FE-9C9031400CFB}" destId="{C6153944-FF65-4147-8A02-4E2D5EE431B6}" srcOrd="39" destOrd="0" presId="urn:microsoft.com/office/officeart/2009/3/layout/SubStepProcess"/>
    <dgm:cxn modelId="{E3059DE8-3258-CD40-B06E-D35361680B5E}" type="presParOf" srcId="{BD319162-32B3-4E7A-A8FE-9C9031400CFB}" destId="{B5ECFECE-EDC3-428C-9D48-CBB5946BC18C}" srcOrd="40" destOrd="0" presId="urn:microsoft.com/office/officeart/2009/3/layout/SubStepProcess"/>
    <dgm:cxn modelId="{B5E21BE7-01F4-2C4D-93AC-F732A444F297}" type="presParOf" srcId="{BD319162-32B3-4E7A-A8FE-9C9031400CFB}" destId="{8450E050-6895-403B-84B1-D7383CF6096C}" srcOrd="41" destOrd="0" presId="urn:microsoft.com/office/officeart/2009/3/layout/SubStepProcess"/>
    <dgm:cxn modelId="{CC3B5596-2036-3541-BE38-1765D139083F}" type="presParOf" srcId="{8450E050-6895-403B-84B1-D7383CF6096C}" destId="{672A9A72-95AC-424B-95CE-56177196F657}" srcOrd="0" destOrd="0" presId="urn:microsoft.com/office/officeart/2009/3/layout/SubStepProcess"/>
    <dgm:cxn modelId="{82470541-B173-6F49-8F78-9F764B751FB1}" type="presParOf" srcId="{8450E050-6895-403B-84B1-D7383CF6096C}" destId="{AA84DD66-BFDB-4E93-9C25-F778420FC73E}" srcOrd="1" destOrd="0" presId="urn:microsoft.com/office/officeart/2009/3/layout/SubStepProcess"/>
    <dgm:cxn modelId="{274B7B7D-B17A-C448-8E47-DE9574695A5D}" type="presParOf" srcId="{8450E050-6895-403B-84B1-D7383CF6096C}" destId="{90A7CAAB-D710-4554-8072-9AE3209D53ED}" srcOrd="2" destOrd="0" presId="urn:microsoft.com/office/officeart/2009/3/layout/SubStepProcess"/>
    <dgm:cxn modelId="{1505130E-8296-E840-AE70-1D2F3E32F254}" type="presParOf" srcId="{8450E050-6895-403B-84B1-D7383CF6096C}" destId="{A431DF09-13B3-4AE8-A20D-802BED35180E}" srcOrd="3" destOrd="0" presId="urn:microsoft.com/office/officeart/2009/3/layout/SubStepProcess"/>
    <dgm:cxn modelId="{10F512D7-87CB-9B44-A828-742D1684FCB2}" type="presParOf" srcId="{8450E050-6895-403B-84B1-D7383CF6096C}" destId="{EDCC2F5A-56AD-40A8-9FED-57B756EDA269}" srcOrd="4" destOrd="0" presId="urn:microsoft.com/office/officeart/2009/3/layout/SubStepProcess"/>
    <dgm:cxn modelId="{6F178321-459F-AD43-85D4-71F963045FDA}" type="presParOf" srcId="{BD319162-32B3-4E7A-A8FE-9C9031400CFB}" destId="{030F426D-E997-448F-BBE3-ADE8F0114175}" srcOrd="42" destOrd="0" presId="urn:microsoft.com/office/officeart/2009/3/layout/SubStepProcess"/>
    <dgm:cxn modelId="{7BDDEE51-6947-1E4A-BD45-14F5C17E55AB}" type="presParOf" srcId="{BD319162-32B3-4E7A-A8FE-9C9031400CFB}" destId="{81A2ECC7-F1BA-4191-A4AA-C7F6CB03572A}" srcOrd="43" destOrd="0" presId="urn:microsoft.com/office/officeart/2009/3/layout/SubStepProcess"/>
    <dgm:cxn modelId="{6C3C6912-F6B5-2E48-B75B-4B0AE97DFCE7}" type="presParOf" srcId="{BD319162-32B3-4E7A-A8FE-9C9031400CFB}" destId="{8A1375DB-8C2B-46A6-9313-7A7B28231AD1}" srcOrd="44" destOrd="0" presId="urn:microsoft.com/office/officeart/2009/3/layout/SubStepProcess"/>
    <dgm:cxn modelId="{6B821DB6-0381-DD4B-A108-2931B7F9F9EC}" type="presParOf" srcId="{8A1375DB-8C2B-46A6-9313-7A7B28231AD1}" destId="{FFFB4ABF-FA3A-43BB-80F5-5695C354C97F}" srcOrd="0" destOrd="0" presId="urn:microsoft.com/office/officeart/2009/3/layout/SubStepProcess"/>
    <dgm:cxn modelId="{3DE4F205-D0DB-DA4F-97EF-D04D8CD4E79C}" type="presParOf" srcId="{8A1375DB-8C2B-46A6-9313-7A7B28231AD1}" destId="{4365C8CC-EB0A-4081-A33B-87361CAFF6BD}" srcOrd="1" destOrd="0" presId="urn:microsoft.com/office/officeart/2009/3/layout/SubStepProcess"/>
    <dgm:cxn modelId="{6331F5DA-5DA4-2B44-AA33-0C13F7C34380}" type="presParOf" srcId="{8A1375DB-8C2B-46A6-9313-7A7B28231AD1}" destId="{E445924E-B9A3-4723-8999-151E80C6D2B1}" srcOrd="2" destOrd="0" presId="urn:microsoft.com/office/officeart/2009/3/layout/SubStepProcess"/>
    <dgm:cxn modelId="{495C3674-03A3-E541-8483-49CB19ABBF77}" type="presParOf" srcId="{8A1375DB-8C2B-46A6-9313-7A7B28231AD1}" destId="{A953DB99-6F27-4824-BEDD-8BAD67DE9BD1}" srcOrd="3" destOrd="0" presId="urn:microsoft.com/office/officeart/2009/3/layout/SubStepProcess"/>
    <dgm:cxn modelId="{485B04D7-190C-5F44-AFA4-268C57AE67C4}" type="presParOf" srcId="{8A1375DB-8C2B-46A6-9313-7A7B28231AD1}" destId="{7681B7C7-7F73-40EF-89F8-D4F0E13FC8CA}" srcOrd="4" destOrd="0" presId="urn:microsoft.com/office/officeart/2009/3/layout/SubStepProcess"/>
    <dgm:cxn modelId="{A592480A-2558-BB40-867A-55F17C27FD3D}" type="presParOf" srcId="{BD319162-32B3-4E7A-A8FE-9C9031400CFB}" destId="{418A0874-4FDD-4033-BB98-25DAB09FE0FA}" srcOrd="45" destOrd="0" presId="urn:microsoft.com/office/officeart/2009/3/layout/SubStepProcess"/>
    <dgm:cxn modelId="{F7F5FB6F-30FD-DF4C-8626-4BE8894F5D13}" type="presParOf" srcId="{BD319162-32B3-4E7A-A8FE-9C9031400CFB}" destId="{212BD1A7-F79A-4E20-B15B-FBAF9C9238EE}" srcOrd="46" destOrd="0" presId="urn:microsoft.com/office/officeart/2009/3/layout/SubStepProcess"/>
    <dgm:cxn modelId="{F79586CB-D0DE-DF4A-A6D8-A764C89D023B}" type="presParOf" srcId="{BD319162-32B3-4E7A-A8FE-9C9031400CFB}" destId="{B341C53C-9D7F-4A3B-9466-B8725F0CEA98}" srcOrd="47" destOrd="0" presId="urn:microsoft.com/office/officeart/2009/3/layout/SubStepProcess"/>
    <dgm:cxn modelId="{1DE30E89-8751-F34E-BA80-FE7AB3D4D5C0}" type="presParOf" srcId="{B341C53C-9D7F-4A3B-9466-B8725F0CEA98}" destId="{BBBBB338-AF18-4AFF-8DE3-52C93A61FA47}" srcOrd="0" destOrd="0" presId="urn:microsoft.com/office/officeart/2009/3/layout/SubStepProcess"/>
    <dgm:cxn modelId="{83DB3DF0-E29E-C345-85C6-8A6344B5F645}" type="presParOf" srcId="{B341C53C-9D7F-4A3B-9466-B8725F0CEA98}" destId="{E478613E-2DA2-4AB2-8C89-CD8942581173}" srcOrd="1" destOrd="0" presId="urn:microsoft.com/office/officeart/2009/3/layout/SubStepProcess"/>
    <dgm:cxn modelId="{57D32640-6E73-8741-AD5F-C70FCD8478F8}" type="presParOf" srcId="{B341C53C-9D7F-4A3B-9466-B8725F0CEA98}" destId="{5CFF5043-1395-43D2-8402-AEFA15C1A4DA}" srcOrd="2" destOrd="0" presId="urn:microsoft.com/office/officeart/2009/3/layout/SubStepProcess"/>
    <dgm:cxn modelId="{1FF03433-318B-0E43-AB87-E2105FC2FCFB}" type="presParOf" srcId="{B341C53C-9D7F-4A3B-9466-B8725F0CEA98}" destId="{8EFFBA7C-B9F8-4FEF-9991-5B78258EC781}" srcOrd="3" destOrd="0" presId="urn:microsoft.com/office/officeart/2009/3/layout/SubStepProcess"/>
    <dgm:cxn modelId="{8C5C9779-62B4-C04F-99AB-74EFEEB803EA}" type="presParOf" srcId="{B341C53C-9D7F-4A3B-9466-B8725F0CEA98}" destId="{45AAD990-21EB-4857-9086-49DF2C9FCA6F}" srcOrd="4" destOrd="0" presId="urn:microsoft.com/office/officeart/2009/3/layout/SubStepProcess"/>
    <dgm:cxn modelId="{FBDB7CBD-D9A2-EB43-905A-7760FEE38E42}" type="presParOf" srcId="{B1344875-4773-4F11-BEC4-69EFB76B7E5F}" destId="{84C25D04-FC6D-4D35-B2C4-63D9B254A89B}" srcOrd="7" destOrd="0" presId="urn:microsoft.com/office/officeart/2009/3/layout/SubStepProcess"/>
    <dgm:cxn modelId="{4A16EF27-A67B-4842-AFA8-34CA087B5320}" type="presParOf" srcId="{B1344875-4773-4F11-BEC4-69EFB76B7E5F}" destId="{DA8FD566-C190-410E-B7DB-16B5A2038472}" srcOrd="8" destOrd="0" presId="urn:microsoft.com/office/officeart/2009/3/layout/SubStepProcess"/>
    <dgm:cxn modelId="{8F3862EF-60AD-C24A-BA98-CE063998609A}" type="presParOf" srcId="{B1344875-4773-4F11-BEC4-69EFB76B7E5F}" destId="{95E0DB6D-C690-4073-AC4C-559BC50E3AB6}" srcOrd="9" destOrd="0" presId="urn:microsoft.com/office/officeart/2009/3/layout/SubStepProcess"/>
    <dgm:cxn modelId="{0DE2E2BB-C021-3A45-A36F-26252E77F2C1}" type="presParOf" srcId="{B1344875-4773-4F11-BEC4-69EFB76B7E5F}" destId="{9F7F3BFD-B84A-4CE3-A079-6CB01BA418C9}" srcOrd="10" destOrd="0" presId="urn:microsoft.com/office/officeart/2009/3/layout/SubStepProcess"/>
    <dgm:cxn modelId="{86C30D41-FA82-5B41-B19B-D5C9D6720769}" type="presParOf" srcId="{9F7F3BFD-B84A-4CE3-A079-6CB01BA418C9}" destId="{AEC61823-E0BA-4FA9-974C-8AC0397A0816}" srcOrd="0" destOrd="0" presId="urn:microsoft.com/office/officeart/2009/3/layout/SubStepProcess"/>
    <dgm:cxn modelId="{04B6CE75-A5B7-0749-8C61-D311F506FD49}" type="presParOf" srcId="{9F7F3BFD-B84A-4CE3-A079-6CB01BA418C9}" destId="{968AB225-ADA9-4A0D-B4EC-DB22E498F88C}" srcOrd="1" destOrd="0" presId="urn:microsoft.com/office/officeart/2009/3/layout/SubStepProcess"/>
    <dgm:cxn modelId="{2D4FAF44-2201-FD4F-BA4E-C7F570699EE3}" type="presParOf" srcId="{9F7F3BFD-B84A-4CE3-A079-6CB01BA418C9}" destId="{9C07E5F5-FA24-402F-A770-3DC8AEE21CCA}" srcOrd="2" destOrd="0" presId="urn:microsoft.com/office/officeart/2009/3/layout/SubStepProcess"/>
    <dgm:cxn modelId="{F5E52E00-A55D-0241-AF9C-B294AC9CCDF7}" type="presParOf" srcId="{9C07E5F5-FA24-402F-A770-3DC8AEE21CCA}" destId="{0659400D-6E9F-4928-AD58-A0F904E3BE5E}" srcOrd="0" destOrd="0" presId="urn:microsoft.com/office/officeart/2009/3/layout/SubStepProcess"/>
    <dgm:cxn modelId="{51509FFE-27C1-5248-88CF-6C6054ECC892}" type="presParOf" srcId="{9C07E5F5-FA24-402F-A770-3DC8AEE21CCA}" destId="{2F8954F1-09F9-49BD-A39A-761313C44BAD}" srcOrd="1" destOrd="0" presId="urn:microsoft.com/office/officeart/2009/3/layout/SubStepProcess"/>
    <dgm:cxn modelId="{55905FFA-1920-B141-A493-D4E452C4F62B}" type="presParOf" srcId="{9C07E5F5-FA24-402F-A770-3DC8AEE21CCA}" destId="{B159D6B2-D40E-4F41-BE3B-D38BFAE06849}" srcOrd="2" destOrd="0" presId="urn:microsoft.com/office/officeart/2009/3/layout/SubStepProcess"/>
    <dgm:cxn modelId="{D3F36C31-580A-214A-A007-A28E867F9A9E}" type="presParOf" srcId="{9C07E5F5-FA24-402F-A770-3DC8AEE21CCA}" destId="{27AF215D-A3BF-43FC-AA48-1FF1E090E1EF}" srcOrd="3" destOrd="0" presId="urn:microsoft.com/office/officeart/2009/3/layout/SubStepProcess"/>
    <dgm:cxn modelId="{A7BBC046-251B-CA4F-8438-D585DEB5A53D}" type="presParOf" srcId="{9C07E5F5-FA24-402F-A770-3DC8AEE21CCA}" destId="{D407C613-8224-460E-925F-E4D2EDFAEFD1}" srcOrd="4" destOrd="0" presId="urn:microsoft.com/office/officeart/2009/3/layout/SubStepProcess"/>
    <dgm:cxn modelId="{BBC7A4EE-2E83-5E4E-8020-64BF7B971691}" type="presParOf" srcId="{9F7F3BFD-B84A-4CE3-A079-6CB01BA418C9}" destId="{183053F8-ECA6-443C-9BAE-CA1E6BC1ADF4}" srcOrd="3" destOrd="0" presId="urn:microsoft.com/office/officeart/2009/3/layout/SubStepProcess"/>
    <dgm:cxn modelId="{0C3442AD-59DD-3741-A57E-75315C5FB005}" type="presParOf" srcId="{9F7F3BFD-B84A-4CE3-A079-6CB01BA418C9}" destId="{51F1B5F3-8DA4-4730-B1D8-F2EF158C2C12}" srcOrd="4" destOrd="0" presId="urn:microsoft.com/office/officeart/2009/3/layout/SubStepProcess"/>
    <dgm:cxn modelId="{271224C4-D4BC-B544-B27D-21C6FF925E51}" type="presParOf" srcId="{9F7F3BFD-B84A-4CE3-A079-6CB01BA418C9}" destId="{B459B90A-6E5A-41A7-87CA-107F8D7A73F0}" srcOrd="5" destOrd="0" presId="urn:microsoft.com/office/officeart/2009/3/layout/SubStepProcess"/>
    <dgm:cxn modelId="{CA139CFC-F7BB-E94D-B2E2-B39240B87880}" type="presParOf" srcId="{B459B90A-6E5A-41A7-87CA-107F8D7A73F0}" destId="{522306FB-2F1D-4492-96D2-4D63D8AB051B}" srcOrd="0" destOrd="0" presId="urn:microsoft.com/office/officeart/2009/3/layout/SubStepProcess"/>
    <dgm:cxn modelId="{6A9A3EAD-DDF5-804D-8718-A3DDF019E256}" type="presParOf" srcId="{B459B90A-6E5A-41A7-87CA-107F8D7A73F0}" destId="{59824A22-BD50-4606-858A-08BE12618C6E}" srcOrd="1" destOrd="0" presId="urn:microsoft.com/office/officeart/2009/3/layout/SubStepProcess"/>
    <dgm:cxn modelId="{35575F4F-387B-964D-874F-78EB839F2E8A}" type="presParOf" srcId="{B459B90A-6E5A-41A7-87CA-107F8D7A73F0}" destId="{408F2B1B-FE32-46F0-A179-89CB14C2BD01}" srcOrd="2" destOrd="0" presId="urn:microsoft.com/office/officeart/2009/3/layout/SubStepProcess"/>
    <dgm:cxn modelId="{F61896BD-EA81-C247-B440-428832386C5C}" type="presParOf" srcId="{B459B90A-6E5A-41A7-87CA-107F8D7A73F0}" destId="{FE3A7CA5-5C5B-4353-A281-AA50CB5463DE}" srcOrd="3" destOrd="0" presId="urn:microsoft.com/office/officeart/2009/3/layout/SubStepProcess"/>
    <dgm:cxn modelId="{433356EA-29DA-A541-A0FC-803E41EA9E87}" type="presParOf" srcId="{B459B90A-6E5A-41A7-87CA-107F8D7A73F0}" destId="{DCC134EC-CC6B-42AE-A84F-65A96D6BCC6F}" srcOrd="4" destOrd="0" presId="urn:microsoft.com/office/officeart/2009/3/layout/SubStepProcess"/>
    <dgm:cxn modelId="{24D12290-D6C5-AF49-B1EC-5D02D899AB34}" type="presParOf" srcId="{9F7F3BFD-B84A-4CE3-A079-6CB01BA418C9}" destId="{206672CB-CEC5-40D0-BBEA-182EC8BFA46D}" srcOrd="6" destOrd="0" presId="urn:microsoft.com/office/officeart/2009/3/layout/SubStepProcess"/>
    <dgm:cxn modelId="{276FEED3-2016-8343-BEA7-2EFA52C00FE7}" type="presParOf" srcId="{9F7F3BFD-B84A-4CE3-A079-6CB01BA418C9}" destId="{96A296FA-A2CC-4E57-BE08-83F82A43AC95}" srcOrd="7" destOrd="0" presId="urn:microsoft.com/office/officeart/2009/3/layout/SubStepProcess"/>
    <dgm:cxn modelId="{560983E3-8F59-EA40-A9B9-C5D339331CBF}" type="presParOf" srcId="{9F7F3BFD-B84A-4CE3-A079-6CB01BA418C9}" destId="{3FBEBD5A-A507-4D62-82A8-4E36C2C6C795}" srcOrd="8" destOrd="0" presId="urn:microsoft.com/office/officeart/2009/3/layout/SubStepProcess"/>
    <dgm:cxn modelId="{5797A3E6-59EC-5645-94FB-4BF2A9003473}" type="presParOf" srcId="{3FBEBD5A-A507-4D62-82A8-4E36C2C6C795}" destId="{43BD693F-6F08-43A3-8554-8C10ED17CAF2}" srcOrd="0" destOrd="0" presId="urn:microsoft.com/office/officeart/2009/3/layout/SubStepProcess"/>
    <dgm:cxn modelId="{DB7804D1-68F4-4B42-9313-4F69D5815D02}" type="presParOf" srcId="{3FBEBD5A-A507-4D62-82A8-4E36C2C6C795}" destId="{2D84FFD3-F5AB-417B-B012-A5DC139ADEFF}" srcOrd="1" destOrd="0" presId="urn:microsoft.com/office/officeart/2009/3/layout/SubStepProcess"/>
    <dgm:cxn modelId="{A10183CF-2BA2-7540-A1CF-D2C60F90AB4A}" type="presParOf" srcId="{3FBEBD5A-A507-4D62-82A8-4E36C2C6C795}" destId="{416251B3-BDFF-4DCC-AB8D-AE2DEDDF674C}" srcOrd="2" destOrd="0" presId="urn:microsoft.com/office/officeart/2009/3/layout/SubStepProcess"/>
    <dgm:cxn modelId="{0AFFFA03-05CF-9F4E-911B-8D4EEC59C95D}" type="presParOf" srcId="{3FBEBD5A-A507-4D62-82A8-4E36C2C6C795}" destId="{C4B685D8-9A68-4D57-9A00-00E6DFD2A60F}" srcOrd="3" destOrd="0" presId="urn:microsoft.com/office/officeart/2009/3/layout/SubStepProcess"/>
    <dgm:cxn modelId="{ECDDFCDE-364B-C64E-803F-45F1F53A0C8A}" type="presParOf" srcId="{3FBEBD5A-A507-4D62-82A8-4E36C2C6C795}" destId="{3491390F-5FD4-427E-AEF3-82D463B91C4F}" srcOrd="4" destOrd="0" presId="urn:microsoft.com/office/officeart/2009/3/layout/SubStepProcess"/>
    <dgm:cxn modelId="{9376861E-D266-4C4F-9E50-8F50B03A521C}" type="presParOf" srcId="{9F7F3BFD-B84A-4CE3-A079-6CB01BA418C9}" destId="{20766DD2-1613-487F-9314-DC8CA7C8F87B}" srcOrd="9" destOrd="0" presId="urn:microsoft.com/office/officeart/2009/3/layout/SubStepProcess"/>
    <dgm:cxn modelId="{FF3C18C8-B6DA-514D-B8D2-D358518872DF}" type="presParOf" srcId="{9F7F3BFD-B84A-4CE3-A079-6CB01BA418C9}" destId="{A738C7BF-42D6-4C9E-8AFC-BCC491231D46}" srcOrd="10" destOrd="0" presId="urn:microsoft.com/office/officeart/2009/3/layout/SubStepProcess"/>
    <dgm:cxn modelId="{559AA62A-B886-C54E-B04C-1F0F045B71E6}" type="presParOf" srcId="{9F7F3BFD-B84A-4CE3-A079-6CB01BA418C9}" destId="{22DA056E-498B-41F6-9E73-E184899530AF}" srcOrd="11" destOrd="0" presId="urn:microsoft.com/office/officeart/2009/3/layout/SubStepProcess"/>
    <dgm:cxn modelId="{AE25304F-D6FF-6144-BF6D-C30D26E87EB8}" type="presParOf" srcId="{22DA056E-498B-41F6-9E73-E184899530AF}" destId="{9BC3A7A1-9458-45D6-AECF-20D08BB19140}" srcOrd="0" destOrd="0" presId="urn:microsoft.com/office/officeart/2009/3/layout/SubStepProcess"/>
    <dgm:cxn modelId="{18047E78-7B71-C946-878C-13198A3D779B}" type="presParOf" srcId="{22DA056E-498B-41F6-9E73-E184899530AF}" destId="{72B5623D-272C-43F8-9B3B-BC28B150F439}" srcOrd="1" destOrd="0" presId="urn:microsoft.com/office/officeart/2009/3/layout/SubStepProcess"/>
    <dgm:cxn modelId="{FAE0E3BB-520B-8640-9B09-3A8ED2E5E495}" type="presParOf" srcId="{22DA056E-498B-41F6-9E73-E184899530AF}" destId="{90B1862D-4D1E-462A-9593-73B8A3FD5ABC}" srcOrd="2" destOrd="0" presId="urn:microsoft.com/office/officeart/2009/3/layout/SubStepProcess"/>
    <dgm:cxn modelId="{B093E88C-F36A-5F41-A6A1-E83BEE40F2FB}" type="presParOf" srcId="{22DA056E-498B-41F6-9E73-E184899530AF}" destId="{F7D25597-FDBB-4AFE-AAFE-FD21BDA13AD7}" srcOrd="3" destOrd="0" presId="urn:microsoft.com/office/officeart/2009/3/layout/SubStepProcess"/>
    <dgm:cxn modelId="{176CBFD7-D7E9-C341-812E-F799D30688A2}" type="presParOf" srcId="{22DA056E-498B-41F6-9E73-E184899530AF}" destId="{ABF5DCEC-491E-4796-80D6-8E2E246291B4}" srcOrd="4" destOrd="0" presId="urn:microsoft.com/office/officeart/2009/3/layout/SubStepProcess"/>
    <dgm:cxn modelId="{BB6BD5B3-E3E6-E145-8AA9-35D48CC4B129}" type="presParOf" srcId="{9F7F3BFD-B84A-4CE3-A079-6CB01BA418C9}" destId="{FBE0F03F-E8B0-4719-B797-F4FA61E56C26}" srcOrd="12" destOrd="0" presId="urn:microsoft.com/office/officeart/2009/3/layout/SubStepProcess"/>
    <dgm:cxn modelId="{D2B76BB6-5B7B-1641-BE14-E7B7E933ABED}" type="presParOf" srcId="{9F7F3BFD-B84A-4CE3-A079-6CB01BA418C9}" destId="{ACD0AEC2-9DD9-4064-93D3-5AEB32755FC5}" srcOrd="13" destOrd="0" presId="urn:microsoft.com/office/officeart/2009/3/layout/SubStepProcess"/>
    <dgm:cxn modelId="{DB2E8F22-DB9B-C24D-9D5D-13D15187F53B}" type="presParOf" srcId="{9F7F3BFD-B84A-4CE3-A079-6CB01BA418C9}" destId="{336BE79C-9976-4EEA-9FCD-E80B64C13631}" srcOrd="14" destOrd="0" presId="urn:microsoft.com/office/officeart/2009/3/layout/SubStepProcess"/>
    <dgm:cxn modelId="{065CA79F-CC30-6F4F-824F-D8A0E6A2FF81}" type="presParOf" srcId="{336BE79C-9976-4EEA-9FCD-E80B64C13631}" destId="{1E3694EA-C671-4FB5-8A65-11813871269B}" srcOrd="0" destOrd="0" presId="urn:microsoft.com/office/officeart/2009/3/layout/SubStepProcess"/>
    <dgm:cxn modelId="{0FAE336F-2254-004C-B538-6DEB048105A0}" type="presParOf" srcId="{336BE79C-9976-4EEA-9FCD-E80B64C13631}" destId="{BE058463-08AD-46A1-A953-05E142225D4A}" srcOrd="1" destOrd="0" presId="urn:microsoft.com/office/officeart/2009/3/layout/SubStepProcess"/>
    <dgm:cxn modelId="{D2AC195F-646D-D248-BCEE-0FCBD778CCB2}" type="presParOf" srcId="{336BE79C-9976-4EEA-9FCD-E80B64C13631}" destId="{83A34351-3A29-4276-AF30-3F30765E951F}" srcOrd="2" destOrd="0" presId="urn:microsoft.com/office/officeart/2009/3/layout/SubStepProcess"/>
    <dgm:cxn modelId="{F9B70CBB-3A9B-494A-BD38-8953FF150445}" type="presParOf" srcId="{336BE79C-9976-4EEA-9FCD-E80B64C13631}" destId="{DA7FB760-CBBB-4DAF-A604-68D9C78CF80A}" srcOrd="3" destOrd="0" presId="urn:microsoft.com/office/officeart/2009/3/layout/SubStepProcess"/>
    <dgm:cxn modelId="{8E9F4A7A-EEE2-F443-9BCD-250843B23CE1}" type="presParOf" srcId="{336BE79C-9976-4EEA-9FCD-E80B64C13631}" destId="{D342BEDC-F695-411A-B100-4F0AC3122525}" srcOrd="4" destOrd="0" presId="urn:microsoft.com/office/officeart/2009/3/layout/SubStepProcess"/>
    <dgm:cxn modelId="{62024F8F-518F-3842-A04C-5524B37EB25B}" type="presParOf" srcId="{9F7F3BFD-B84A-4CE3-A079-6CB01BA418C9}" destId="{D17229D3-F77A-4C91-969A-9E51F20A98D0}" srcOrd="15" destOrd="0" presId="urn:microsoft.com/office/officeart/2009/3/layout/SubStepProcess"/>
    <dgm:cxn modelId="{6E8125CE-4D4F-EA4E-AB0C-8A331B63F6B7}" type="presParOf" srcId="{9F7F3BFD-B84A-4CE3-A079-6CB01BA418C9}" destId="{923EAF04-CA47-49DA-9041-1DC128D494E6}" srcOrd="16" destOrd="0" presId="urn:microsoft.com/office/officeart/2009/3/layout/SubStepProcess"/>
    <dgm:cxn modelId="{056C7DAE-F548-6C4E-9D17-DBA0CAACA181}" type="presParOf" srcId="{9F7F3BFD-B84A-4CE3-A079-6CB01BA418C9}" destId="{4A9BCC8E-8FD0-4B2C-9A53-031B3F2D2896}" srcOrd="17" destOrd="0" presId="urn:microsoft.com/office/officeart/2009/3/layout/SubStepProcess"/>
    <dgm:cxn modelId="{7B471EFE-C5C8-D444-9E4F-19FDC84ED629}" type="presParOf" srcId="{4A9BCC8E-8FD0-4B2C-9A53-031B3F2D2896}" destId="{BC664771-F75E-41A8-8454-C925C6E93E5F}" srcOrd="0" destOrd="0" presId="urn:microsoft.com/office/officeart/2009/3/layout/SubStepProcess"/>
    <dgm:cxn modelId="{49341887-B06C-4E49-AD5C-7009B660E85A}" type="presParOf" srcId="{4A9BCC8E-8FD0-4B2C-9A53-031B3F2D2896}" destId="{9E09EB23-3A5E-4F4A-9DBC-A5F5068B67DC}" srcOrd="1" destOrd="0" presId="urn:microsoft.com/office/officeart/2009/3/layout/SubStepProcess"/>
    <dgm:cxn modelId="{971DDA56-D417-5D41-93FF-F2E3834EEF5E}" type="presParOf" srcId="{4A9BCC8E-8FD0-4B2C-9A53-031B3F2D2896}" destId="{4552AA4A-58CE-4ADF-9D16-9851A274C22F}" srcOrd="2" destOrd="0" presId="urn:microsoft.com/office/officeart/2009/3/layout/SubStepProcess"/>
    <dgm:cxn modelId="{E109B65A-F512-6F40-AB97-61119E4E0A07}" type="presParOf" srcId="{4A9BCC8E-8FD0-4B2C-9A53-031B3F2D2896}" destId="{B39A57B6-331C-4EC5-B637-A6FD3A59D7B8}" srcOrd="3" destOrd="0" presId="urn:microsoft.com/office/officeart/2009/3/layout/SubStepProcess"/>
    <dgm:cxn modelId="{12157689-E1E1-A841-97AA-03BC45607A40}" type="presParOf" srcId="{4A9BCC8E-8FD0-4B2C-9A53-031B3F2D2896}" destId="{8F5C5145-0B78-4DA7-B6F7-29A8F939C8CF}" srcOrd="4" destOrd="0" presId="urn:microsoft.com/office/officeart/2009/3/layout/SubStepProcess"/>
    <dgm:cxn modelId="{88966425-280E-864E-A90C-83AC47E99F15}" type="presParOf" srcId="{9F7F3BFD-B84A-4CE3-A079-6CB01BA418C9}" destId="{9809E6E3-EABF-4E24-8979-7ABC7A65EBFF}" srcOrd="18" destOrd="0" presId="urn:microsoft.com/office/officeart/2009/3/layout/SubStepProcess"/>
    <dgm:cxn modelId="{4DE1516F-7441-9C46-82DE-B3F80B126282}" type="presParOf" srcId="{9F7F3BFD-B84A-4CE3-A079-6CB01BA418C9}" destId="{18367EA7-63B3-4680-9DAD-14BCCB347C40}" srcOrd="19" destOrd="0" presId="urn:microsoft.com/office/officeart/2009/3/layout/SubStepProcess"/>
    <dgm:cxn modelId="{DDF50595-528C-7C45-BAC4-942B99E416CE}" type="presParOf" srcId="{9F7F3BFD-B84A-4CE3-A079-6CB01BA418C9}" destId="{73279E31-697B-4F89-A9D5-72F480687990}" srcOrd="20" destOrd="0" presId="urn:microsoft.com/office/officeart/2009/3/layout/SubStepProcess"/>
    <dgm:cxn modelId="{DBF2FD3A-CBB5-3F4E-A778-F28F391C306C}" type="presParOf" srcId="{73279E31-697B-4F89-A9D5-72F480687990}" destId="{912E2BEB-93EB-4502-91E3-05EA49CF2EED}" srcOrd="0" destOrd="0" presId="urn:microsoft.com/office/officeart/2009/3/layout/SubStepProcess"/>
    <dgm:cxn modelId="{F67A49DA-5475-0643-A293-2F552902173B}" type="presParOf" srcId="{73279E31-697B-4F89-A9D5-72F480687990}" destId="{70658DA1-C900-4D27-B7E5-0A78A0D35425}" srcOrd="1" destOrd="0" presId="urn:microsoft.com/office/officeart/2009/3/layout/SubStepProcess"/>
    <dgm:cxn modelId="{A75E9F51-92D0-B743-B262-35FD28F3E8C7}" type="presParOf" srcId="{73279E31-697B-4F89-A9D5-72F480687990}" destId="{81DB5CB5-C6CC-4F9C-92B6-04AF03BE0BE5}" srcOrd="2" destOrd="0" presId="urn:microsoft.com/office/officeart/2009/3/layout/SubStepProcess"/>
    <dgm:cxn modelId="{5245CD87-2F05-B549-AD88-12BC7E2393A3}" type="presParOf" srcId="{73279E31-697B-4F89-A9D5-72F480687990}" destId="{00E3A2FA-A500-4243-8116-6782927EDEA2}" srcOrd="3" destOrd="0" presId="urn:microsoft.com/office/officeart/2009/3/layout/SubStepProcess"/>
    <dgm:cxn modelId="{F4173AF7-2DC5-6D4E-A57F-6F4B89A7808E}" type="presParOf" srcId="{73279E31-697B-4F89-A9D5-72F480687990}" destId="{578413D8-B0F4-4D29-9081-95CCBD94B1AA}" srcOrd="4" destOrd="0" presId="urn:microsoft.com/office/officeart/2009/3/layout/SubStepProcess"/>
    <dgm:cxn modelId="{63931C84-84BF-744C-9820-DC8841916518}" type="presParOf" srcId="{9F7F3BFD-B84A-4CE3-A079-6CB01BA418C9}" destId="{FB644E33-A1BD-4BDC-BFD8-7B30376A7390}" srcOrd="21" destOrd="0" presId="urn:microsoft.com/office/officeart/2009/3/layout/SubStepProcess"/>
    <dgm:cxn modelId="{D68135F2-6C36-C047-BA81-6F62BFCF9202}" type="presParOf" srcId="{9F7F3BFD-B84A-4CE3-A079-6CB01BA418C9}" destId="{62937B02-3182-47EC-A62B-C07B24051143}" srcOrd="22" destOrd="0" presId="urn:microsoft.com/office/officeart/2009/3/layout/SubStepProcess"/>
    <dgm:cxn modelId="{5DA87317-85FA-4145-87EB-F1FBBDC197C4}" type="presParOf" srcId="{9F7F3BFD-B84A-4CE3-A079-6CB01BA418C9}" destId="{A5DC755E-78CF-464B-954B-736E03AEDDE2}" srcOrd="23" destOrd="0" presId="urn:microsoft.com/office/officeart/2009/3/layout/SubStepProcess"/>
    <dgm:cxn modelId="{59E5FDC4-2B23-5048-BEEF-70D1B1E85BA0}" type="presParOf" srcId="{A5DC755E-78CF-464B-954B-736E03AEDDE2}" destId="{32CDF290-81E2-47A9-BA2A-5794BA3B455C}" srcOrd="0" destOrd="0" presId="urn:microsoft.com/office/officeart/2009/3/layout/SubStepProcess"/>
    <dgm:cxn modelId="{E4BF7CFC-8633-8F46-84B9-56BC7058F1A4}" type="presParOf" srcId="{A5DC755E-78CF-464B-954B-736E03AEDDE2}" destId="{88329071-A0FC-4317-8616-D38FA8CC9E59}" srcOrd="1" destOrd="0" presId="urn:microsoft.com/office/officeart/2009/3/layout/SubStepProcess"/>
    <dgm:cxn modelId="{50D66C6B-DA9B-ED4E-A85C-65551C8309D6}" type="presParOf" srcId="{A5DC755E-78CF-464B-954B-736E03AEDDE2}" destId="{7D17ECC9-7112-4BFF-9D8E-B64B78ED766C}" srcOrd="2" destOrd="0" presId="urn:microsoft.com/office/officeart/2009/3/layout/SubStepProcess"/>
    <dgm:cxn modelId="{0971D9E9-4B53-3F44-8B7C-259B06BF0A8D}" type="presParOf" srcId="{A5DC755E-78CF-464B-954B-736E03AEDDE2}" destId="{AEC525D5-FDF5-4EAE-BB2E-5E59CEF8CD6E}" srcOrd="3" destOrd="0" presId="urn:microsoft.com/office/officeart/2009/3/layout/SubStepProcess"/>
    <dgm:cxn modelId="{80ADB2F0-DAA4-5344-8275-498151B2918E}" type="presParOf" srcId="{A5DC755E-78CF-464B-954B-736E03AEDDE2}" destId="{CDC88A83-A023-43E0-B45E-7B0520E12749}" srcOrd="4" destOrd="0" presId="urn:microsoft.com/office/officeart/2009/3/layout/SubStepProcess"/>
    <dgm:cxn modelId="{C451B7B0-75C6-5C43-99CE-53406553C4AF}" type="presParOf" srcId="{9F7F3BFD-B84A-4CE3-A079-6CB01BA418C9}" destId="{4A66420D-4369-4E2F-BE3F-222FEE6DF76F}" srcOrd="24" destOrd="0" presId="urn:microsoft.com/office/officeart/2009/3/layout/SubStepProcess"/>
    <dgm:cxn modelId="{F20EBDCE-4E33-154A-ACC7-1B024E3B3A54}" type="presParOf" srcId="{9F7F3BFD-B84A-4CE3-A079-6CB01BA418C9}" destId="{A4B425F0-E83E-409A-A9A1-7CA958AEEBE9}" srcOrd="25" destOrd="0" presId="urn:microsoft.com/office/officeart/2009/3/layout/SubStepProcess"/>
    <dgm:cxn modelId="{98C7CB65-3C40-1F42-80F9-7EF58E173FDE}" type="presParOf" srcId="{9F7F3BFD-B84A-4CE3-A079-6CB01BA418C9}" destId="{5F2356A5-FC7B-43FC-9263-AC0175A04759}" srcOrd="26" destOrd="0" presId="urn:microsoft.com/office/officeart/2009/3/layout/SubStepProcess"/>
    <dgm:cxn modelId="{2B681251-9AEF-BC46-B781-7764FE149528}" type="presParOf" srcId="{5F2356A5-FC7B-43FC-9263-AC0175A04759}" destId="{F3F219EC-2750-42AC-A57A-E2CD32F86B0C}" srcOrd="0" destOrd="0" presId="urn:microsoft.com/office/officeart/2009/3/layout/SubStepProcess"/>
    <dgm:cxn modelId="{29B9BD89-8493-3646-AAFB-C48BBB9F57DC}" type="presParOf" srcId="{5F2356A5-FC7B-43FC-9263-AC0175A04759}" destId="{D897A472-C028-46DF-B008-8219A048FEBD}" srcOrd="1" destOrd="0" presId="urn:microsoft.com/office/officeart/2009/3/layout/SubStepProcess"/>
    <dgm:cxn modelId="{5485AF83-42BB-5B4D-90FC-ED7A6DCD59D2}" type="presParOf" srcId="{5F2356A5-FC7B-43FC-9263-AC0175A04759}" destId="{62DA6000-FA6B-486A-93D8-770BB5CC9C27}" srcOrd="2" destOrd="0" presId="urn:microsoft.com/office/officeart/2009/3/layout/SubStepProcess"/>
    <dgm:cxn modelId="{0676B0E6-876F-014E-871E-38ADB174468B}" type="presParOf" srcId="{5F2356A5-FC7B-43FC-9263-AC0175A04759}" destId="{E2F9B266-EE48-466A-A1F3-11713587B77B}" srcOrd="3" destOrd="0" presId="urn:microsoft.com/office/officeart/2009/3/layout/SubStepProcess"/>
    <dgm:cxn modelId="{B3F8A197-4444-024D-BB67-D5483C346DD0}" type="presParOf" srcId="{5F2356A5-FC7B-43FC-9263-AC0175A04759}" destId="{AAE3EB14-5B30-4F53-9924-2D95FECB8E38}" srcOrd="4" destOrd="0" presId="urn:microsoft.com/office/officeart/2009/3/layout/SubStepProcess"/>
    <dgm:cxn modelId="{8853585F-DF0C-2443-A375-D926CD9FCDF2}" type="presParOf" srcId="{9F7F3BFD-B84A-4CE3-A079-6CB01BA418C9}" destId="{446DE2A6-F638-48AC-AA9E-ACABC52E4822}" srcOrd="27" destOrd="0" presId="urn:microsoft.com/office/officeart/2009/3/layout/SubStepProcess"/>
    <dgm:cxn modelId="{E8A0DADC-AB4A-5A48-B211-C98CFA5A26D9}" type="presParOf" srcId="{9F7F3BFD-B84A-4CE3-A079-6CB01BA418C9}" destId="{F2C36B70-62DF-4F4A-BC86-57402FB90531}" srcOrd="28" destOrd="0" presId="urn:microsoft.com/office/officeart/2009/3/layout/SubStepProcess"/>
    <dgm:cxn modelId="{CB0B763A-7C51-E84A-8A03-573F923C2F2B}" type="presParOf" srcId="{9F7F3BFD-B84A-4CE3-A079-6CB01BA418C9}" destId="{010BA322-EAEA-44CE-8AB9-B1998FBB1E3D}" srcOrd="29" destOrd="0" presId="urn:microsoft.com/office/officeart/2009/3/layout/SubStepProcess"/>
    <dgm:cxn modelId="{60577935-186C-0D48-BDE6-5838B1A1DCB9}" type="presParOf" srcId="{010BA322-EAEA-44CE-8AB9-B1998FBB1E3D}" destId="{EFF7D3FA-2F25-4F27-9D1E-CCC920452B07}" srcOrd="0" destOrd="0" presId="urn:microsoft.com/office/officeart/2009/3/layout/SubStepProcess"/>
    <dgm:cxn modelId="{E36638D1-79C1-B648-AF75-A9C0FF1DF7A6}" type="presParOf" srcId="{010BA322-EAEA-44CE-8AB9-B1998FBB1E3D}" destId="{B83064FC-4C11-45C4-8148-A750B766C8D9}" srcOrd="1" destOrd="0" presId="urn:microsoft.com/office/officeart/2009/3/layout/SubStepProcess"/>
    <dgm:cxn modelId="{817D9410-DD15-1C44-B83C-DC07DA4EB8A0}" type="presParOf" srcId="{010BA322-EAEA-44CE-8AB9-B1998FBB1E3D}" destId="{0FA95547-2427-438B-B62B-6A29F45EC643}" srcOrd="2" destOrd="0" presId="urn:microsoft.com/office/officeart/2009/3/layout/SubStepProcess"/>
    <dgm:cxn modelId="{AB8663B1-4012-4348-A22E-8A9A1B8818B2}" type="presParOf" srcId="{010BA322-EAEA-44CE-8AB9-B1998FBB1E3D}" destId="{7B21B78C-CE54-46B9-A98F-230C52077F47}" srcOrd="3" destOrd="0" presId="urn:microsoft.com/office/officeart/2009/3/layout/SubStepProcess"/>
    <dgm:cxn modelId="{C54C7F4F-BF51-B94F-AEA1-9052A172D048}" type="presParOf" srcId="{010BA322-EAEA-44CE-8AB9-B1998FBB1E3D}" destId="{B16A5228-AF1A-4834-94C7-DD1C65333E0C}" srcOrd="4" destOrd="0" presId="urn:microsoft.com/office/officeart/2009/3/layout/SubStepProcess"/>
    <dgm:cxn modelId="{29F76B89-159F-C14D-BAC0-72A869D09259}" type="presParOf" srcId="{9F7F3BFD-B84A-4CE3-A079-6CB01BA418C9}" destId="{8B92C1CF-4CEE-420C-AA40-D3220AA53129}" srcOrd="30" destOrd="0" presId="urn:microsoft.com/office/officeart/2009/3/layout/SubStepProcess"/>
    <dgm:cxn modelId="{8E89B437-69AC-9649-A1DA-B25232E94738}" type="presParOf" srcId="{9F7F3BFD-B84A-4CE3-A079-6CB01BA418C9}" destId="{5257B1A1-590F-4694-A04A-3E632C6A8A0A}" srcOrd="31" destOrd="0" presId="urn:microsoft.com/office/officeart/2009/3/layout/SubStepProcess"/>
    <dgm:cxn modelId="{DD9EAA8D-C630-A04D-95D3-2987949DEDE0}" type="presParOf" srcId="{9F7F3BFD-B84A-4CE3-A079-6CB01BA418C9}" destId="{6E23DB54-F405-423B-BA6E-CE9E803760DD}" srcOrd="32" destOrd="0" presId="urn:microsoft.com/office/officeart/2009/3/layout/SubStepProcess"/>
    <dgm:cxn modelId="{7D96430D-CC86-444E-8861-B795BFA72336}" type="presParOf" srcId="{6E23DB54-F405-423B-BA6E-CE9E803760DD}" destId="{0470CF2C-223B-4343-8FEB-AA06B6BEF241}" srcOrd="0" destOrd="0" presId="urn:microsoft.com/office/officeart/2009/3/layout/SubStepProcess"/>
    <dgm:cxn modelId="{1188CC9A-DF78-1640-A95E-5301929B7A9E}" type="presParOf" srcId="{6E23DB54-F405-423B-BA6E-CE9E803760DD}" destId="{BD0BBDD9-CA1F-45D0-8CE0-F66A8E86E3A5}" srcOrd="1" destOrd="0" presId="urn:microsoft.com/office/officeart/2009/3/layout/SubStepProcess"/>
    <dgm:cxn modelId="{A00096E5-67DB-DD4B-A52D-D728B36D1B49}" type="presParOf" srcId="{6E23DB54-F405-423B-BA6E-CE9E803760DD}" destId="{81A98007-71A7-4B1B-BE16-14F078A3F7D6}" srcOrd="2" destOrd="0" presId="urn:microsoft.com/office/officeart/2009/3/layout/SubStepProcess"/>
    <dgm:cxn modelId="{A7E3F42B-C226-F447-97C2-C40963A1DB6A}" type="presParOf" srcId="{6E23DB54-F405-423B-BA6E-CE9E803760DD}" destId="{31C22902-AA22-4234-9886-0D502F5E57E6}" srcOrd="3" destOrd="0" presId="urn:microsoft.com/office/officeart/2009/3/layout/SubStepProcess"/>
    <dgm:cxn modelId="{D87FD6AB-EDF6-C04C-B2E4-C8CAEECDD489}" type="presParOf" srcId="{6E23DB54-F405-423B-BA6E-CE9E803760DD}" destId="{4833586B-7CB5-405F-9767-E051EC19CAB8}" srcOrd="4" destOrd="0" presId="urn:microsoft.com/office/officeart/2009/3/layout/SubStepProcess"/>
    <dgm:cxn modelId="{F9ED68BB-E89B-8E40-B765-12EA405FBD8E}" type="presParOf" srcId="{9F7F3BFD-B84A-4CE3-A079-6CB01BA418C9}" destId="{85213917-8FA8-40EB-B227-34AFF84BAB8C}" srcOrd="33" destOrd="0" presId="urn:microsoft.com/office/officeart/2009/3/layout/SubStepProcess"/>
    <dgm:cxn modelId="{EEC4C6F7-AFC8-5549-8F80-86BBB4FB5F3E}" type="presParOf" srcId="{9F7F3BFD-B84A-4CE3-A079-6CB01BA418C9}" destId="{FA24D1DE-8916-4FCF-AC64-EF50F3F6E4D6}" srcOrd="34" destOrd="0" presId="urn:microsoft.com/office/officeart/2009/3/layout/SubStepProcess"/>
    <dgm:cxn modelId="{FD02BD20-2712-4449-8B54-BEACF918E963}" type="presParOf" srcId="{9F7F3BFD-B84A-4CE3-A079-6CB01BA418C9}" destId="{C42A6F9C-0CDB-4165-8E1A-0AA05A874164}" srcOrd="35" destOrd="0" presId="urn:microsoft.com/office/officeart/2009/3/layout/SubStepProcess"/>
    <dgm:cxn modelId="{B8C6BF05-2EE8-2C4E-ABAD-159826AE6E7D}" type="presParOf" srcId="{C42A6F9C-0CDB-4165-8E1A-0AA05A874164}" destId="{A980FFBC-878B-49C8-A1EC-D2288D5E7422}" srcOrd="0" destOrd="0" presId="urn:microsoft.com/office/officeart/2009/3/layout/SubStepProcess"/>
    <dgm:cxn modelId="{163C42EC-FC4E-DC4A-B480-C5438641503A}" type="presParOf" srcId="{C42A6F9C-0CDB-4165-8E1A-0AA05A874164}" destId="{B2D828F9-B256-4B8F-9DDF-EDB0D400FB6A}" srcOrd="1" destOrd="0" presId="urn:microsoft.com/office/officeart/2009/3/layout/SubStepProcess"/>
    <dgm:cxn modelId="{6CC617A3-AB0E-AA47-A476-338F4C236101}" type="presParOf" srcId="{C42A6F9C-0CDB-4165-8E1A-0AA05A874164}" destId="{D7271D8D-4224-4CDE-AEB7-45261D09B04D}" srcOrd="2" destOrd="0" presId="urn:microsoft.com/office/officeart/2009/3/layout/SubStepProcess"/>
    <dgm:cxn modelId="{367D69EF-A14B-A24E-990C-0CF1E078CED6}" type="presParOf" srcId="{C42A6F9C-0CDB-4165-8E1A-0AA05A874164}" destId="{6470B1C4-D227-4720-99B1-5491213F2CB3}" srcOrd="3" destOrd="0" presId="urn:microsoft.com/office/officeart/2009/3/layout/SubStepProcess"/>
    <dgm:cxn modelId="{F8848BD7-2459-EB44-8225-5289B0CD9C02}" type="presParOf" srcId="{C42A6F9C-0CDB-4165-8E1A-0AA05A874164}" destId="{4959AF41-7C95-437F-955A-D5D156864135}" srcOrd="4" destOrd="0" presId="urn:microsoft.com/office/officeart/2009/3/layout/SubStepProcess"/>
    <dgm:cxn modelId="{59932CCB-1BE6-DE43-AD30-84EB0902C9A9}" type="presParOf" srcId="{B1344875-4773-4F11-BEC4-69EFB76B7E5F}" destId="{9E4FA90C-75BC-4C28-96A0-93DB622CE2AE}" srcOrd="11" destOrd="0" presId="urn:microsoft.com/office/officeart/2009/3/layout/SubStepProcess"/>
    <dgm:cxn modelId="{1A9140B9-04DA-F24B-B49C-ACB37C6D7081}" type="presParOf" srcId="{B1344875-4773-4F11-BEC4-69EFB76B7E5F}" destId="{DC724C37-6962-4811-BC0B-103522458BE7}" srcOrd="12" destOrd="0" presId="urn:microsoft.com/office/officeart/2009/3/layout/SubStepProcess"/>
    <dgm:cxn modelId="{559F97A4-2C61-9749-9912-4244782FDE1E}" type="presParOf" srcId="{B1344875-4773-4F11-BEC4-69EFB76B7E5F}" destId="{BA5B1853-B7AB-4B9F-9165-E44BE197A77D}" srcOrd="13" destOrd="0" presId="urn:microsoft.com/office/officeart/2009/3/layout/SubStepProcess"/>
    <dgm:cxn modelId="{F3497D92-CBDD-9C4A-AF32-DE1CD0FF744C}" type="presParOf" srcId="{B1344875-4773-4F11-BEC4-69EFB76B7E5F}" destId="{FC74D7EE-B97D-4B8D-BF30-9DA85E7F938B}" srcOrd="14" destOrd="0" presId="urn:microsoft.com/office/officeart/2009/3/layout/SubStepProcess"/>
    <dgm:cxn modelId="{D9D76DD6-A078-A54E-AF75-B23577BB5CA2}" type="presParOf" srcId="{FC74D7EE-B97D-4B8D-BF30-9DA85E7F938B}" destId="{5FCC07AA-2999-42DC-9817-A4E6EA41374C}" srcOrd="0" destOrd="0" presId="urn:microsoft.com/office/officeart/2009/3/layout/SubStepProcess"/>
    <dgm:cxn modelId="{B9765783-215F-F44A-B9FA-CCC632381C5A}" type="presParOf" srcId="{FC74D7EE-B97D-4B8D-BF30-9DA85E7F938B}" destId="{7EABEA73-64C6-E848-A9BA-16672CC49791}" srcOrd="1" destOrd="0" presId="urn:microsoft.com/office/officeart/2009/3/layout/SubStepProcess"/>
    <dgm:cxn modelId="{767037EB-CFDE-044A-BB56-1CE770499C61}" type="presParOf" srcId="{FC74D7EE-B97D-4B8D-BF30-9DA85E7F938B}" destId="{5D6F0A21-9648-444F-838E-7EF65A1BBDCB}" srcOrd="2" destOrd="0" presId="urn:microsoft.com/office/officeart/2009/3/layout/SubStepProcess"/>
    <dgm:cxn modelId="{8A8E4434-87EC-F646-B983-EB7B1DE54A15}" type="presParOf" srcId="{5D6F0A21-9648-444F-838E-7EF65A1BBDCB}" destId="{E1C5914E-67A9-4AF7-8C0E-A87A4FDE768B}" srcOrd="0" destOrd="0" presId="urn:microsoft.com/office/officeart/2009/3/layout/SubStepProcess"/>
    <dgm:cxn modelId="{87994C44-A796-8748-B24E-80718FE5A9C6}" type="presParOf" srcId="{5D6F0A21-9648-444F-838E-7EF65A1BBDCB}" destId="{17E08D51-A805-44C0-8B19-DCB27979D733}" srcOrd="1" destOrd="0" presId="urn:microsoft.com/office/officeart/2009/3/layout/SubStepProcess"/>
    <dgm:cxn modelId="{518B21DC-B340-314D-B4A0-A1A89DE0E298}" type="presParOf" srcId="{5D6F0A21-9648-444F-838E-7EF65A1BBDCB}" destId="{E55E1E42-07ED-40F8-8088-6E828BAE310F}" srcOrd="2" destOrd="0" presId="urn:microsoft.com/office/officeart/2009/3/layout/SubStepProcess"/>
    <dgm:cxn modelId="{DCE1B2A5-A6E9-7941-B636-71D0D04DBB92}" type="presParOf" srcId="{5D6F0A21-9648-444F-838E-7EF65A1BBDCB}" destId="{87D4E799-F33F-44D6-A119-FEE201B50EFE}" srcOrd="3" destOrd="0" presId="urn:microsoft.com/office/officeart/2009/3/layout/SubSte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66FEE6-18BF-4FBA-9CBA-BDE478DB8E85}">
      <dsp:nvSpPr>
        <dsp:cNvPr id="0" name=""/>
        <dsp:cNvSpPr/>
      </dsp:nvSpPr>
      <dsp:spPr>
        <a:xfrm>
          <a:off x="1783" y="1643935"/>
          <a:ext cx="836502" cy="755161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olidWorks</a:t>
          </a:r>
        </a:p>
      </dsp:txBody>
      <dsp:txXfrm>
        <a:off x="124286" y="1754526"/>
        <a:ext cx="591496" cy="533979"/>
      </dsp:txXfrm>
    </dsp:sp>
    <dsp:sp modelId="{58F7E63D-8453-4265-94D4-A69268DA60FD}">
      <dsp:nvSpPr>
        <dsp:cNvPr id="0" name=""/>
        <dsp:cNvSpPr/>
      </dsp:nvSpPr>
      <dsp:spPr>
        <a:xfrm rot="16596808">
          <a:off x="90967" y="940374"/>
          <a:ext cx="17453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453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3BC29D-1B95-45E2-9354-894505535681}">
      <dsp:nvSpPr>
        <dsp:cNvPr id="0" name=""/>
        <dsp:cNvSpPr/>
      </dsp:nvSpPr>
      <dsp:spPr>
        <a:xfrm rot="15803192">
          <a:off x="1180846" y="940374"/>
          <a:ext cx="17453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453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931BFD-FAAF-461F-9CFF-FD1A80490E11}">
      <dsp:nvSpPr>
        <dsp:cNvPr id="0" name=""/>
        <dsp:cNvSpPr/>
      </dsp:nvSpPr>
      <dsp:spPr>
        <a:xfrm>
          <a:off x="1064141" y="7351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1090A3-35AC-4C84-B2CC-096EEEDCEA1E}">
      <dsp:nvSpPr>
        <dsp:cNvPr id="0" name=""/>
        <dsp:cNvSpPr/>
      </dsp:nvSpPr>
      <dsp:spPr>
        <a:xfrm>
          <a:off x="1161917" y="1364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364"/>
        <a:ext cx="693316" cy="144296"/>
      </dsp:txXfrm>
    </dsp:sp>
    <dsp:sp modelId="{3B1BFC5C-0A69-426B-ABF3-2CE636A77C17}">
      <dsp:nvSpPr>
        <dsp:cNvPr id="0" name=""/>
        <dsp:cNvSpPr/>
      </dsp:nvSpPr>
      <dsp:spPr>
        <a:xfrm>
          <a:off x="1855233" y="7351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3380D8-F134-4AD2-A621-32C1DEA3672D}">
      <dsp:nvSpPr>
        <dsp:cNvPr id="0" name=""/>
        <dsp:cNvSpPr/>
      </dsp:nvSpPr>
      <dsp:spPr>
        <a:xfrm rot="16628237">
          <a:off x="154718" y="1020458"/>
          <a:ext cx="161783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1783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38597A-D87E-4DC6-9FC8-8484227EEBFD}">
      <dsp:nvSpPr>
        <dsp:cNvPr id="0" name=""/>
        <dsp:cNvSpPr/>
      </dsp:nvSpPr>
      <dsp:spPr>
        <a:xfrm rot="15771763">
          <a:off x="1244597" y="1020458"/>
          <a:ext cx="161783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1783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AA3542-4CF9-49EF-8903-7BB43849E1D0}">
      <dsp:nvSpPr>
        <dsp:cNvPr id="0" name=""/>
        <dsp:cNvSpPr/>
      </dsp:nvSpPr>
      <dsp:spPr>
        <a:xfrm>
          <a:off x="1064141" y="21780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2E1769-B4D9-4591-9AE2-7D6939AF515F}">
      <dsp:nvSpPr>
        <dsp:cNvPr id="0" name=""/>
        <dsp:cNvSpPr/>
      </dsp:nvSpPr>
      <dsp:spPr>
        <a:xfrm>
          <a:off x="1161917" y="145660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45660"/>
        <a:ext cx="693316" cy="144296"/>
      </dsp:txXfrm>
    </dsp:sp>
    <dsp:sp modelId="{7AF3F0A1-6F3B-43A9-983A-2FEE9CD0FB18}">
      <dsp:nvSpPr>
        <dsp:cNvPr id="0" name=""/>
        <dsp:cNvSpPr/>
      </dsp:nvSpPr>
      <dsp:spPr>
        <a:xfrm>
          <a:off x="1855233" y="21780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76FACF-268E-44C5-B91F-0935F77BC323}">
      <dsp:nvSpPr>
        <dsp:cNvPr id="0" name=""/>
        <dsp:cNvSpPr/>
      </dsp:nvSpPr>
      <dsp:spPr>
        <a:xfrm rot="16665040">
          <a:off x="218389" y="1100543"/>
          <a:ext cx="14904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04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AB7538-21AF-41FA-B68A-01FE4D37F394}">
      <dsp:nvSpPr>
        <dsp:cNvPr id="0" name=""/>
        <dsp:cNvSpPr/>
      </dsp:nvSpPr>
      <dsp:spPr>
        <a:xfrm rot="15734960">
          <a:off x="1308269" y="1100543"/>
          <a:ext cx="14904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04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28644F-3F10-4CA1-A491-E2C871259517}">
      <dsp:nvSpPr>
        <dsp:cNvPr id="0" name=""/>
        <dsp:cNvSpPr/>
      </dsp:nvSpPr>
      <dsp:spPr>
        <a:xfrm>
          <a:off x="1064141" y="36210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6E14CA-CB8A-44E5-938D-027CC7815CF4}">
      <dsp:nvSpPr>
        <dsp:cNvPr id="0" name=""/>
        <dsp:cNvSpPr/>
      </dsp:nvSpPr>
      <dsp:spPr>
        <a:xfrm>
          <a:off x="1161917" y="289957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89957"/>
        <a:ext cx="693316" cy="144296"/>
      </dsp:txXfrm>
    </dsp:sp>
    <dsp:sp modelId="{8630DA2A-038F-4ABF-B38E-0EA5DA02FC36}">
      <dsp:nvSpPr>
        <dsp:cNvPr id="0" name=""/>
        <dsp:cNvSpPr/>
      </dsp:nvSpPr>
      <dsp:spPr>
        <a:xfrm>
          <a:off x="1855233" y="36210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A03A57-57E9-456A-9D9A-863E37B5A613}">
      <dsp:nvSpPr>
        <dsp:cNvPr id="0" name=""/>
        <dsp:cNvSpPr/>
      </dsp:nvSpPr>
      <dsp:spPr>
        <a:xfrm rot="16708714">
          <a:off x="281960" y="1180627"/>
          <a:ext cx="13633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335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258F88-FFD4-4E87-8C3D-FBCE6D006A7F}">
      <dsp:nvSpPr>
        <dsp:cNvPr id="0" name=""/>
        <dsp:cNvSpPr/>
      </dsp:nvSpPr>
      <dsp:spPr>
        <a:xfrm rot="15691286">
          <a:off x="1371839" y="1180627"/>
          <a:ext cx="13633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335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E000F4-F522-4E41-A4FB-821053A1F4A6}">
      <dsp:nvSpPr>
        <dsp:cNvPr id="0" name=""/>
        <dsp:cNvSpPr/>
      </dsp:nvSpPr>
      <dsp:spPr>
        <a:xfrm>
          <a:off x="1064141" y="50640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3A2AC7-A989-4575-9E10-487E49679FBB}">
      <dsp:nvSpPr>
        <dsp:cNvPr id="0" name=""/>
        <dsp:cNvSpPr/>
      </dsp:nvSpPr>
      <dsp:spPr>
        <a:xfrm>
          <a:off x="1161917" y="434253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434253"/>
        <a:ext cx="693316" cy="144296"/>
      </dsp:txXfrm>
    </dsp:sp>
    <dsp:sp modelId="{4B52820F-72FA-4FA7-A93C-2E42C3BE1B96}">
      <dsp:nvSpPr>
        <dsp:cNvPr id="0" name=""/>
        <dsp:cNvSpPr/>
      </dsp:nvSpPr>
      <dsp:spPr>
        <a:xfrm>
          <a:off x="1855233" y="50640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FE6151-404F-40DE-A5B0-7D292580A594}">
      <dsp:nvSpPr>
        <dsp:cNvPr id="0" name=""/>
        <dsp:cNvSpPr/>
      </dsp:nvSpPr>
      <dsp:spPr>
        <a:xfrm rot="16761360">
          <a:off x="345397" y="1260712"/>
          <a:ext cx="123647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364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368D13-8814-46DB-9AEC-05548F8AB4CA}">
      <dsp:nvSpPr>
        <dsp:cNvPr id="0" name=""/>
        <dsp:cNvSpPr/>
      </dsp:nvSpPr>
      <dsp:spPr>
        <a:xfrm rot="15638640">
          <a:off x="1435277" y="1260712"/>
          <a:ext cx="123647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364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E83811-916D-4CCD-AD5D-AE2AE0226975}">
      <dsp:nvSpPr>
        <dsp:cNvPr id="0" name=""/>
        <dsp:cNvSpPr/>
      </dsp:nvSpPr>
      <dsp:spPr>
        <a:xfrm>
          <a:off x="1064141" y="65069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7310D7-CEC2-4430-BCD1-94A8B50FF451}">
      <dsp:nvSpPr>
        <dsp:cNvPr id="0" name=""/>
        <dsp:cNvSpPr/>
      </dsp:nvSpPr>
      <dsp:spPr>
        <a:xfrm>
          <a:off x="1161917" y="578550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578550"/>
        <a:ext cx="693316" cy="144296"/>
      </dsp:txXfrm>
    </dsp:sp>
    <dsp:sp modelId="{098C2267-7960-4D0D-95FB-AA72F3F11855}">
      <dsp:nvSpPr>
        <dsp:cNvPr id="0" name=""/>
        <dsp:cNvSpPr/>
      </dsp:nvSpPr>
      <dsp:spPr>
        <a:xfrm>
          <a:off x="1855233" y="65069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97FF2C-71DC-4E68-8DD0-952A223D8FAA}">
      <dsp:nvSpPr>
        <dsp:cNvPr id="0" name=""/>
        <dsp:cNvSpPr/>
      </dsp:nvSpPr>
      <dsp:spPr>
        <a:xfrm rot="16826025">
          <a:off x="408657" y="1340796"/>
          <a:ext cx="11099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0995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E7D7FC-87EB-4AA9-B862-433E22C62F58}">
      <dsp:nvSpPr>
        <dsp:cNvPr id="0" name=""/>
        <dsp:cNvSpPr/>
      </dsp:nvSpPr>
      <dsp:spPr>
        <a:xfrm rot="15573975">
          <a:off x="1498536" y="1340796"/>
          <a:ext cx="11099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0995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6DE021-B7DD-4207-9B3C-DF9DB7DC1BDD}">
      <dsp:nvSpPr>
        <dsp:cNvPr id="0" name=""/>
        <dsp:cNvSpPr/>
      </dsp:nvSpPr>
      <dsp:spPr>
        <a:xfrm>
          <a:off x="1064141" y="79499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6DD1EC-884C-4FBD-BD35-E4FF6C3FBC52}">
      <dsp:nvSpPr>
        <dsp:cNvPr id="0" name=""/>
        <dsp:cNvSpPr/>
      </dsp:nvSpPr>
      <dsp:spPr>
        <a:xfrm>
          <a:off x="1161917" y="722846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722846"/>
        <a:ext cx="693316" cy="144296"/>
      </dsp:txXfrm>
    </dsp:sp>
    <dsp:sp modelId="{93389018-FF37-4A3D-8285-D49A27391478}">
      <dsp:nvSpPr>
        <dsp:cNvPr id="0" name=""/>
        <dsp:cNvSpPr/>
      </dsp:nvSpPr>
      <dsp:spPr>
        <a:xfrm>
          <a:off x="1855233" y="79499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E83EFA-1CF1-4743-B1D8-5832EE146CD2}">
      <dsp:nvSpPr>
        <dsp:cNvPr id="0" name=""/>
        <dsp:cNvSpPr/>
      </dsp:nvSpPr>
      <dsp:spPr>
        <a:xfrm rot="16907292">
          <a:off x="471670" y="1420881"/>
          <a:ext cx="9839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8393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4C16E2-F563-44DA-9F3F-FA3996C9A9B0}">
      <dsp:nvSpPr>
        <dsp:cNvPr id="0" name=""/>
        <dsp:cNvSpPr/>
      </dsp:nvSpPr>
      <dsp:spPr>
        <a:xfrm rot="15492708">
          <a:off x="1561549" y="1420881"/>
          <a:ext cx="9839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8393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36077C-FD90-4215-A2BB-73E3BFFDF7A7}">
      <dsp:nvSpPr>
        <dsp:cNvPr id="0" name=""/>
        <dsp:cNvSpPr/>
      </dsp:nvSpPr>
      <dsp:spPr>
        <a:xfrm>
          <a:off x="1064141" y="93929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8DC5AB-1F21-4864-A935-685345AC4C7A}">
      <dsp:nvSpPr>
        <dsp:cNvPr id="0" name=""/>
        <dsp:cNvSpPr/>
      </dsp:nvSpPr>
      <dsp:spPr>
        <a:xfrm>
          <a:off x="1161917" y="867143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867143"/>
        <a:ext cx="693316" cy="144296"/>
      </dsp:txXfrm>
    </dsp:sp>
    <dsp:sp modelId="{7778B0C1-FAEF-40AC-AE9B-D67FFC041E1B}">
      <dsp:nvSpPr>
        <dsp:cNvPr id="0" name=""/>
        <dsp:cNvSpPr/>
      </dsp:nvSpPr>
      <dsp:spPr>
        <a:xfrm>
          <a:off x="1855233" y="93929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11642D-86BB-4DF0-8C83-9172190BCDF7}">
      <dsp:nvSpPr>
        <dsp:cNvPr id="0" name=""/>
        <dsp:cNvSpPr/>
      </dsp:nvSpPr>
      <dsp:spPr>
        <a:xfrm rot="17012353">
          <a:off x="534327" y="1500966"/>
          <a:ext cx="85861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861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24159B-DE19-4A59-BBAA-E078C37AE88A}">
      <dsp:nvSpPr>
        <dsp:cNvPr id="0" name=""/>
        <dsp:cNvSpPr/>
      </dsp:nvSpPr>
      <dsp:spPr>
        <a:xfrm rot="15387647">
          <a:off x="1624206" y="1500966"/>
          <a:ext cx="85861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861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627A90-59BF-414F-B387-8F8DAD896FD0}">
      <dsp:nvSpPr>
        <dsp:cNvPr id="0" name=""/>
        <dsp:cNvSpPr/>
      </dsp:nvSpPr>
      <dsp:spPr>
        <a:xfrm>
          <a:off x="1064141" y="10835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67E965-FF7C-48E6-8381-BF47C0B9F1A9}">
      <dsp:nvSpPr>
        <dsp:cNvPr id="0" name=""/>
        <dsp:cNvSpPr/>
      </dsp:nvSpPr>
      <dsp:spPr>
        <a:xfrm>
          <a:off x="1161917" y="1011440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011440"/>
        <a:ext cx="693316" cy="144296"/>
      </dsp:txXfrm>
    </dsp:sp>
    <dsp:sp modelId="{51E4DEF8-1C5E-4956-B4D0-05EDB15A8503}">
      <dsp:nvSpPr>
        <dsp:cNvPr id="0" name=""/>
        <dsp:cNvSpPr/>
      </dsp:nvSpPr>
      <dsp:spPr>
        <a:xfrm>
          <a:off x="1855233" y="10835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78C588-E3FE-440B-A3D8-20454EA84860}">
      <dsp:nvSpPr>
        <dsp:cNvPr id="0" name=""/>
        <dsp:cNvSpPr/>
      </dsp:nvSpPr>
      <dsp:spPr>
        <a:xfrm rot="17153134">
          <a:off x="596447" y="1581050"/>
          <a:ext cx="7343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3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7F93E3-D960-452F-BC52-66C257607A3A}">
      <dsp:nvSpPr>
        <dsp:cNvPr id="0" name=""/>
        <dsp:cNvSpPr/>
      </dsp:nvSpPr>
      <dsp:spPr>
        <a:xfrm rot="15246866">
          <a:off x="1686326" y="1581050"/>
          <a:ext cx="7343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3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D1BB93-E3EF-43E1-B2E2-DD449CA76D6F}">
      <dsp:nvSpPr>
        <dsp:cNvPr id="0" name=""/>
        <dsp:cNvSpPr/>
      </dsp:nvSpPr>
      <dsp:spPr>
        <a:xfrm>
          <a:off x="1064141" y="122788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A2328C-CAD0-47EB-9266-A1C8F1907991}">
      <dsp:nvSpPr>
        <dsp:cNvPr id="0" name=""/>
        <dsp:cNvSpPr/>
      </dsp:nvSpPr>
      <dsp:spPr>
        <a:xfrm>
          <a:off x="1161917" y="1155736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155736"/>
        <a:ext cx="693316" cy="144296"/>
      </dsp:txXfrm>
    </dsp:sp>
    <dsp:sp modelId="{F90C4FAC-C91A-4792-AF34-4BC22899985D}">
      <dsp:nvSpPr>
        <dsp:cNvPr id="0" name=""/>
        <dsp:cNvSpPr/>
      </dsp:nvSpPr>
      <dsp:spPr>
        <a:xfrm>
          <a:off x="1855233" y="122788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A7FA5E-119B-4FFD-B4C7-65AE0273A35A}">
      <dsp:nvSpPr>
        <dsp:cNvPr id="0" name=""/>
        <dsp:cNvSpPr/>
      </dsp:nvSpPr>
      <dsp:spPr>
        <a:xfrm rot="17350742">
          <a:off x="657701" y="1661135"/>
          <a:ext cx="61186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1186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C2A944-9E64-4084-AC69-2B56CC00E404}">
      <dsp:nvSpPr>
        <dsp:cNvPr id="0" name=""/>
        <dsp:cNvSpPr/>
      </dsp:nvSpPr>
      <dsp:spPr>
        <a:xfrm rot="15049258">
          <a:off x="1747580" y="1661135"/>
          <a:ext cx="61186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1186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03B76A-8A80-46FA-A0EF-E4AF80DE0115}">
      <dsp:nvSpPr>
        <dsp:cNvPr id="0" name=""/>
        <dsp:cNvSpPr/>
      </dsp:nvSpPr>
      <dsp:spPr>
        <a:xfrm>
          <a:off x="1064141" y="137218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784979-493B-4910-AD6C-B5498284E6B8}">
      <dsp:nvSpPr>
        <dsp:cNvPr id="0" name=""/>
        <dsp:cNvSpPr/>
      </dsp:nvSpPr>
      <dsp:spPr>
        <a:xfrm>
          <a:off x="1161917" y="1300033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300033"/>
        <a:ext cx="693316" cy="144296"/>
      </dsp:txXfrm>
    </dsp:sp>
    <dsp:sp modelId="{03A15FDD-EB75-4596-88F9-79F9374EE199}">
      <dsp:nvSpPr>
        <dsp:cNvPr id="0" name=""/>
        <dsp:cNvSpPr/>
      </dsp:nvSpPr>
      <dsp:spPr>
        <a:xfrm>
          <a:off x="1855233" y="137218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C75633-BD45-446D-91A8-563572854102}">
      <dsp:nvSpPr>
        <dsp:cNvPr id="0" name=""/>
        <dsp:cNvSpPr/>
      </dsp:nvSpPr>
      <dsp:spPr>
        <a:xfrm rot="17645667">
          <a:off x="717444" y="1741219"/>
          <a:ext cx="49238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9238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15103B-7EEC-42EB-B17D-C83620222DB5}">
      <dsp:nvSpPr>
        <dsp:cNvPr id="0" name=""/>
        <dsp:cNvSpPr/>
      </dsp:nvSpPr>
      <dsp:spPr>
        <a:xfrm rot="14754333">
          <a:off x="1807323" y="1741219"/>
          <a:ext cx="49238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9238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24A66-4B0F-4F21-8000-831CDBA995FB}">
      <dsp:nvSpPr>
        <dsp:cNvPr id="0" name=""/>
        <dsp:cNvSpPr/>
      </dsp:nvSpPr>
      <dsp:spPr>
        <a:xfrm>
          <a:off x="1064141" y="151647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0A04DB-7585-466A-A7E2-B7368ACE728D}">
      <dsp:nvSpPr>
        <dsp:cNvPr id="0" name=""/>
        <dsp:cNvSpPr/>
      </dsp:nvSpPr>
      <dsp:spPr>
        <a:xfrm>
          <a:off x="1161917" y="1444329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444329"/>
        <a:ext cx="693316" cy="144296"/>
      </dsp:txXfrm>
    </dsp:sp>
    <dsp:sp modelId="{D81CD999-1ED9-40D0-B9E1-002D329F5F86}">
      <dsp:nvSpPr>
        <dsp:cNvPr id="0" name=""/>
        <dsp:cNvSpPr/>
      </dsp:nvSpPr>
      <dsp:spPr>
        <a:xfrm>
          <a:off x="1855233" y="151647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0378E4-BDC0-44B2-BBD1-4A90D81F1BAC}">
      <dsp:nvSpPr>
        <dsp:cNvPr id="0" name=""/>
        <dsp:cNvSpPr/>
      </dsp:nvSpPr>
      <dsp:spPr>
        <a:xfrm rot="18123010">
          <a:off x="774238" y="1821304"/>
          <a:ext cx="37879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879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0D213C-9395-4314-B64E-241A46F89B64}">
      <dsp:nvSpPr>
        <dsp:cNvPr id="0" name=""/>
        <dsp:cNvSpPr/>
      </dsp:nvSpPr>
      <dsp:spPr>
        <a:xfrm rot="14276990">
          <a:off x="1864118" y="1821304"/>
          <a:ext cx="37879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879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6A5F21-846E-4C9D-B2D7-2093937F1154}">
      <dsp:nvSpPr>
        <dsp:cNvPr id="0" name=""/>
        <dsp:cNvSpPr/>
      </dsp:nvSpPr>
      <dsp:spPr>
        <a:xfrm>
          <a:off x="1064141" y="166077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FF6F26-2703-4C12-927D-A9044CB7378E}">
      <dsp:nvSpPr>
        <dsp:cNvPr id="0" name=""/>
        <dsp:cNvSpPr/>
      </dsp:nvSpPr>
      <dsp:spPr>
        <a:xfrm>
          <a:off x="1161917" y="1588626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588626"/>
        <a:ext cx="693316" cy="144296"/>
      </dsp:txXfrm>
    </dsp:sp>
    <dsp:sp modelId="{D119405B-7A5F-4ADF-94B2-137FDC5D608F}">
      <dsp:nvSpPr>
        <dsp:cNvPr id="0" name=""/>
        <dsp:cNvSpPr/>
      </dsp:nvSpPr>
      <dsp:spPr>
        <a:xfrm>
          <a:off x="1855233" y="166077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B1AFE3-815B-4E06-B73F-3A35D5341935}">
      <dsp:nvSpPr>
        <dsp:cNvPr id="0" name=""/>
        <dsp:cNvSpPr/>
      </dsp:nvSpPr>
      <dsp:spPr>
        <a:xfrm rot="18973134">
          <a:off x="824428" y="1901389"/>
          <a:ext cx="2784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841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D8475C-79C9-4AF0-9D4A-FCD9AC710D7D}">
      <dsp:nvSpPr>
        <dsp:cNvPr id="0" name=""/>
        <dsp:cNvSpPr/>
      </dsp:nvSpPr>
      <dsp:spPr>
        <a:xfrm rot="13426866">
          <a:off x="1914308" y="1901389"/>
          <a:ext cx="2784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841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77DD8F-FB3A-4684-BDAC-4A7549F1616B}">
      <dsp:nvSpPr>
        <dsp:cNvPr id="0" name=""/>
        <dsp:cNvSpPr/>
      </dsp:nvSpPr>
      <dsp:spPr>
        <a:xfrm>
          <a:off x="1064141" y="180507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AA6B94-9F49-4AF9-AE3E-32F9C77F44E2}">
      <dsp:nvSpPr>
        <dsp:cNvPr id="0" name=""/>
        <dsp:cNvSpPr/>
      </dsp:nvSpPr>
      <dsp:spPr>
        <a:xfrm>
          <a:off x="1161917" y="1732922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732922"/>
        <a:ext cx="693316" cy="144296"/>
      </dsp:txXfrm>
    </dsp:sp>
    <dsp:sp modelId="{E9E10DE2-C71B-4D0C-948A-778438EF8A77}">
      <dsp:nvSpPr>
        <dsp:cNvPr id="0" name=""/>
        <dsp:cNvSpPr/>
      </dsp:nvSpPr>
      <dsp:spPr>
        <a:xfrm>
          <a:off x="1855233" y="180507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594893-A27E-4C0F-ACC1-2D199E659653}">
      <dsp:nvSpPr>
        <dsp:cNvPr id="0" name=""/>
        <dsp:cNvSpPr/>
      </dsp:nvSpPr>
      <dsp:spPr>
        <a:xfrm rot="20537053">
          <a:off x="858126" y="1981473"/>
          <a:ext cx="2110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10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FA2FD-7E91-4D6C-AD4A-6A9FCE85711F}">
      <dsp:nvSpPr>
        <dsp:cNvPr id="0" name=""/>
        <dsp:cNvSpPr/>
      </dsp:nvSpPr>
      <dsp:spPr>
        <a:xfrm rot="11862947">
          <a:off x="1948005" y="1981473"/>
          <a:ext cx="2110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10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2A5704-34F2-413E-A28E-0E723E99AEF7}">
      <dsp:nvSpPr>
        <dsp:cNvPr id="0" name=""/>
        <dsp:cNvSpPr/>
      </dsp:nvSpPr>
      <dsp:spPr>
        <a:xfrm>
          <a:off x="1064141" y="194936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160C9B-1062-4C39-B3E4-A8D8F037D27C}">
      <dsp:nvSpPr>
        <dsp:cNvPr id="0" name=""/>
        <dsp:cNvSpPr/>
      </dsp:nvSpPr>
      <dsp:spPr>
        <a:xfrm>
          <a:off x="1161917" y="1877219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1877219"/>
        <a:ext cx="693316" cy="144296"/>
      </dsp:txXfrm>
    </dsp:sp>
    <dsp:sp modelId="{A43AA722-C85F-44E8-B61A-D5DDA614F0FB}">
      <dsp:nvSpPr>
        <dsp:cNvPr id="0" name=""/>
        <dsp:cNvSpPr/>
      </dsp:nvSpPr>
      <dsp:spPr>
        <a:xfrm>
          <a:off x="1855233" y="194936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52D137-794B-4CF2-9360-77E6EEEF0931}">
      <dsp:nvSpPr>
        <dsp:cNvPr id="0" name=""/>
        <dsp:cNvSpPr/>
      </dsp:nvSpPr>
      <dsp:spPr>
        <a:xfrm rot="1062947">
          <a:off x="858126" y="2061558"/>
          <a:ext cx="2110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10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07754D-ED0C-4CDC-869B-B8814858980B}">
      <dsp:nvSpPr>
        <dsp:cNvPr id="0" name=""/>
        <dsp:cNvSpPr/>
      </dsp:nvSpPr>
      <dsp:spPr>
        <a:xfrm rot="9737053">
          <a:off x="1948005" y="2061558"/>
          <a:ext cx="2110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10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C85349-4616-4E59-9196-A967C9BAF8E0}">
      <dsp:nvSpPr>
        <dsp:cNvPr id="0" name=""/>
        <dsp:cNvSpPr/>
      </dsp:nvSpPr>
      <dsp:spPr>
        <a:xfrm>
          <a:off x="1064141" y="209366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B5E9DC-7D21-4D12-BE0F-46BA1636B65D}">
      <dsp:nvSpPr>
        <dsp:cNvPr id="0" name=""/>
        <dsp:cNvSpPr/>
      </dsp:nvSpPr>
      <dsp:spPr>
        <a:xfrm>
          <a:off x="1161917" y="2021516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021516"/>
        <a:ext cx="693316" cy="144296"/>
      </dsp:txXfrm>
    </dsp:sp>
    <dsp:sp modelId="{DB1A8727-C6BD-47B0-BF7D-0864831F2FFF}">
      <dsp:nvSpPr>
        <dsp:cNvPr id="0" name=""/>
        <dsp:cNvSpPr/>
      </dsp:nvSpPr>
      <dsp:spPr>
        <a:xfrm>
          <a:off x="1855233" y="209366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091C9A-4889-4203-ACF4-7AF69F5E8F14}">
      <dsp:nvSpPr>
        <dsp:cNvPr id="0" name=""/>
        <dsp:cNvSpPr/>
      </dsp:nvSpPr>
      <dsp:spPr>
        <a:xfrm rot="2626866">
          <a:off x="824428" y="2141642"/>
          <a:ext cx="2784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841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AC7A95-07CD-4C6F-A580-4BB3A5FD8D63}">
      <dsp:nvSpPr>
        <dsp:cNvPr id="0" name=""/>
        <dsp:cNvSpPr/>
      </dsp:nvSpPr>
      <dsp:spPr>
        <a:xfrm rot="8173134">
          <a:off x="1914308" y="2141642"/>
          <a:ext cx="2784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841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227096-B957-4D56-8DA1-A0ABA177B817}">
      <dsp:nvSpPr>
        <dsp:cNvPr id="0" name=""/>
        <dsp:cNvSpPr/>
      </dsp:nvSpPr>
      <dsp:spPr>
        <a:xfrm>
          <a:off x="1064141" y="223796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64B9C6-D729-4BF0-A060-EDDCC991BBA2}">
      <dsp:nvSpPr>
        <dsp:cNvPr id="0" name=""/>
        <dsp:cNvSpPr/>
      </dsp:nvSpPr>
      <dsp:spPr>
        <a:xfrm>
          <a:off x="1161917" y="2165812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165812"/>
        <a:ext cx="693316" cy="144296"/>
      </dsp:txXfrm>
    </dsp:sp>
    <dsp:sp modelId="{988F957D-C33F-4889-AA7E-92EBE5A2C77A}">
      <dsp:nvSpPr>
        <dsp:cNvPr id="0" name=""/>
        <dsp:cNvSpPr/>
      </dsp:nvSpPr>
      <dsp:spPr>
        <a:xfrm>
          <a:off x="1855233" y="223796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AF7093-0F09-43F3-8128-4BECA3CD5D65}">
      <dsp:nvSpPr>
        <dsp:cNvPr id="0" name=""/>
        <dsp:cNvSpPr/>
      </dsp:nvSpPr>
      <dsp:spPr>
        <a:xfrm rot="3476990">
          <a:off x="774238" y="2221727"/>
          <a:ext cx="37879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879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9739D7-DCEF-43A2-818F-45764610B255}">
      <dsp:nvSpPr>
        <dsp:cNvPr id="0" name=""/>
        <dsp:cNvSpPr/>
      </dsp:nvSpPr>
      <dsp:spPr>
        <a:xfrm rot="7323010">
          <a:off x="1864118" y="2221727"/>
          <a:ext cx="37879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879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3FF3DD-5591-4704-A7D4-42408D20A53F}">
      <dsp:nvSpPr>
        <dsp:cNvPr id="0" name=""/>
        <dsp:cNvSpPr/>
      </dsp:nvSpPr>
      <dsp:spPr>
        <a:xfrm>
          <a:off x="1064141" y="238225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BD17A6-3959-45DD-AD14-02F1EFD8AA63}">
      <dsp:nvSpPr>
        <dsp:cNvPr id="0" name=""/>
        <dsp:cNvSpPr/>
      </dsp:nvSpPr>
      <dsp:spPr>
        <a:xfrm>
          <a:off x="1161917" y="2310109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310109"/>
        <a:ext cx="693316" cy="144296"/>
      </dsp:txXfrm>
    </dsp:sp>
    <dsp:sp modelId="{E22B408A-5F36-4B9B-98FA-73F2F5F3E945}">
      <dsp:nvSpPr>
        <dsp:cNvPr id="0" name=""/>
        <dsp:cNvSpPr/>
      </dsp:nvSpPr>
      <dsp:spPr>
        <a:xfrm>
          <a:off x="1855233" y="238225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D42AC5-3DF6-4D0F-95C9-5124F507088A}">
      <dsp:nvSpPr>
        <dsp:cNvPr id="0" name=""/>
        <dsp:cNvSpPr/>
      </dsp:nvSpPr>
      <dsp:spPr>
        <a:xfrm rot="3954333">
          <a:off x="717444" y="2301812"/>
          <a:ext cx="49238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9238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7B99D4-1C1A-4407-974E-EAA132318E25}">
      <dsp:nvSpPr>
        <dsp:cNvPr id="0" name=""/>
        <dsp:cNvSpPr/>
      </dsp:nvSpPr>
      <dsp:spPr>
        <a:xfrm rot="6845667">
          <a:off x="1807323" y="2301812"/>
          <a:ext cx="49238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9238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956BE9-6661-4228-BB8D-9FCB6CA59DDF}">
      <dsp:nvSpPr>
        <dsp:cNvPr id="0" name=""/>
        <dsp:cNvSpPr/>
      </dsp:nvSpPr>
      <dsp:spPr>
        <a:xfrm>
          <a:off x="1064141" y="252655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075D9-A93C-4EA3-8DB8-3DA166F1F75F}">
      <dsp:nvSpPr>
        <dsp:cNvPr id="0" name=""/>
        <dsp:cNvSpPr/>
      </dsp:nvSpPr>
      <dsp:spPr>
        <a:xfrm>
          <a:off x="1161917" y="2454405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454405"/>
        <a:ext cx="693316" cy="144296"/>
      </dsp:txXfrm>
    </dsp:sp>
    <dsp:sp modelId="{3BD0C75F-E58E-476C-96BB-4ECADAA1B55C}">
      <dsp:nvSpPr>
        <dsp:cNvPr id="0" name=""/>
        <dsp:cNvSpPr/>
      </dsp:nvSpPr>
      <dsp:spPr>
        <a:xfrm>
          <a:off x="1855233" y="252655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D6850D-7E25-4357-B827-04D49A0B8615}">
      <dsp:nvSpPr>
        <dsp:cNvPr id="0" name=""/>
        <dsp:cNvSpPr/>
      </dsp:nvSpPr>
      <dsp:spPr>
        <a:xfrm rot="4249258">
          <a:off x="657701" y="2381896"/>
          <a:ext cx="61186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1186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7A7745-BA0D-413E-86C6-F7B95D582FD5}">
      <dsp:nvSpPr>
        <dsp:cNvPr id="0" name=""/>
        <dsp:cNvSpPr/>
      </dsp:nvSpPr>
      <dsp:spPr>
        <a:xfrm rot="6550742">
          <a:off x="1747580" y="2381896"/>
          <a:ext cx="61186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1186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C6FDAC-345F-4B42-9ECA-ADBF8A7415B6}">
      <dsp:nvSpPr>
        <dsp:cNvPr id="0" name=""/>
        <dsp:cNvSpPr/>
      </dsp:nvSpPr>
      <dsp:spPr>
        <a:xfrm>
          <a:off x="1064141" y="267085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755BC3-5C32-4E8E-8D27-A5E8895EB981}">
      <dsp:nvSpPr>
        <dsp:cNvPr id="0" name=""/>
        <dsp:cNvSpPr/>
      </dsp:nvSpPr>
      <dsp:spPr>
        <a:xfrm>
          <a:off x="1161917" y="2598702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598702"/>
        <a:ext cx="693316" cy="144296"/>
      </dsp:txXfrm>
    </dsp:sp>
    <dsp:sp modelId="{8149D76F-DE8B-4F90-B1B0-FDB62759F006}">
      <dsp:nvSpPr>
        <dsp:cNvPr id="0" name=""/>
        <dsp:cNvSpPr/>
      </dsp:nvSpPr>
      <dsp:spPr>
        <a:xfrm>
          <a:off x="1855233" y="267085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B6A572-63D1-43AC-A74C-32960E176380}">
      <dsp:nvSpPr>
        <dsp:cNvPr id="0" name=""/>
        <dsp:cNvSpPr/>
      </dsp:nvSpPr>
      <dsp:spPr>
        <a:xfrm rot="4446866">
          <a:off x="596447" y="2461981"/>
          <a:ext cx="7343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3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209CC7-0015-4796-ABD8-C3FE03696DBC}">
      <dsp:nvSpPr>
        <dsp:cNvPr id="0" name=""/>
        <dsp:cNvSpPr/>
      </dsp:nvSpPr>
      <dsp:spPr>
        <a:xfrm rot="6353134">
          <a:off x="1686326" y="2461981"/>
          <a:ext cx="7343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3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B8203C-DD9A-4836-A4CB-858D781F1657}">
      <dsp:nvSpPr>
        <dsp:cNvPr id="0" name=""/>
        <dsp:cNvSpPr/>
      </dsp:nvSpPr>
      <dsp:spPr>
        <a:xfrm>
          <a:off x="1064141" y="281514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5C771D-66D3-4EA6-AE3D-9AFC62CF5E5D}">
      <dsp:nvSpPr>
        <dsp:cNvPr id="0" name=""/>
        <dsp:cNvSpPr/>
      </dsp:nvSpPr>
      <dsp:spPr>
        <a:xfrm>
          <a:off x="1161917" y="2742998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742998"/>
        <a:ext cx="693316" cy="144296"/>
      </dsp:txXfrm>
    </dsp:sp>
    <dsp:sp modelId="{4A581D96-A520-4697-BC71-7107835FB6A4}">
      <dsp:nvSpPr>
        <dsp:cNvPr id="0" name=""/>
        <dsp:cNvSpPr/>
      </dsp:nvSpPr>
      <dsp:spPr>
        <a:xfrm>
          <a:off x="1855233" y="281514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B4EBA8-058B-46C7-96D3-CE8B9320AF6C}">
      <dsp:nvSpPr>
        <dsp:cNvPr id="0" name=""/>
        <dsp:cNvSpPr/>
      </dsp:nvSpPr>
      <dsp:spPr>
        <a:xfrm rot="4587647">
          <a:off x="534327" y="2542065"/>
          <a:ext cx="85861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861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A56DCE-9762-45BF-BE92-6E967FF80DFC}">
      <dsp:nvSpPr>
        <dsp:cNvPr id="0" name=""/>
        <dsp:cNvSpPr/>
      </dsp:nvSpPr>
      <dsp:spPr>
        <a:xfrm rot="6212353">
          <a:off x="1624206" y="2542065"/>
          <a:ext cx="85861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861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6B2954-2C53-4761-B062-FF5387172746}">
      <dsp:nvSpPr>
        <dsp:cNvPr id="0" name=""/>
        <dsp:cNvSpPr/>
      </dsp:nvSpPr>
      <dsp:spPr>
        <a:xfrm>
          <a:off x="1064141" y="29594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C478FC-CB66-4B0E-B9B1-619DCD209D81}">
      <dsp:nvSpPr>
        <dsp:cNvPr id="0" name=""/>
        <dsp:cNvSpPr/>
      </dsp:nvSpPr>
      <dsp:spPr>
        <a:xfrm>
          <a:off x="1161917" y="2887295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2887295"/>
        <a:ext cx="693316" cy="144296"/>
      </dsp:txXfrm>
    </dsp:sp>
    <dsp:sp modelId="{857E5943-E06D-4882-8911-FC674C58D638}">
      <dsp:nvSpPr>
        <dsp:cNvPr id="0" name=""/>
        <dsp:cNvSpPr/>
      </dsp:nvSpPr>
      <dsp:spPr>
        <a:xfrm>
          <a:off x="1855233" y="29594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A1643A-45F7-43E5-8276-746C95F73887}">
      <dsp:nvSpPr>
        <dsp:cNvPr id="0" name=""/>
        <dsp:cNvSpPr/>
      </dsp:nvSpPr>
      <dsp:spPr>
        <a:xfrm rot="4692708">
          <a:off x="471670" y="2622150"/>
          <a:ext cx="9839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8393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78FC81-1AE9-41E8-B904-8612D9C1B341}">
      <dsp:nvSpPr>
        <dsp:cNvPr id="0" name=""/>
        <dsp:cNvSpPr/>
      </dsp:nvSpPr>
      <dsp:spPr>
        <a:xfrm rot="6107292">
          <a:off x="1561549" y="2622150"/>
          <a:ext cx="9839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8393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E71E86-1395-4A92-8C66-C3CFE0C8D8B0}">
      <dsp:nvSpPr>
        <dsp:cNvPr id="0" name=""/>
        <dsp:cNvSpPr/>
      </dsp:nvSpPr>
      <dsp:spPr>
        <a:xfrm>
          <a:off x="1064141" y="310374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BF0F4-E05F-49B2-9BF7-CA82C5CABEE0}">
      <dsp:nvSpPr>
        <dsp:cNvPr id="0" name=""/>
        <dsp:cNvSpPr/>
      </dsp:nvSpPr>
      <dsp:spPr>
        <a:xfrm>
          <a:off x="1161917" y="3031591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031591"/>
        <a:ext cx="693316" cy="144296"/>
      </dsp:txXfrm>
    </dsp:sp>
    <dsp:sp modelId="{209D3479-7531-4CCA-A0D7-282329CAFE35}">
      <dsp:nvSpPr>
        <dsp:cNvPr id="0" name=""/>
        <dsp:cNvSpPr/>
      </dsp:nvSpPr>
      <dsp:spPr>
        <a:xfrm>
          <a:off x="1855233" y="310374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DF1C82-3E62-405B-8FFA-2C429263D908}">
      <dsp:nvSpPr>
        <dsp:cNvPr id="0" name=""/>
        <dsp:cNvSpPr/>
      </dsp:nvSpPr>
      <dsp:spPr>
        <a:xfrm rot="4773975">
          <a:off x="408657" y="2702235"/>
          <a:ext cx="11099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0995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976FEC-ED91-4EF4-A9BA-C2F8136A0A63}">
      <dsp:nvSpPr>
        <dsp:cNvPr id="0" name=""/>
        <dsp:cNvSpPr/>
      </dsp:nvSpPr>
      <dsp:spPr>
        <a:xfrm rot="6026025">
          <a:off x="1498536" y="2702235"/>
          <a:ext cx="11099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0995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ADBB0B-1054-4B0C-8EA9-8429202B98D0}">
      <dsp:nvSpPr>
        <dsp:cNvPr id="0" name=""/>
        <dsp:cNvSpPr/>
      </dsp:nvSpPr>
      <dsp:spPr>
        <a:xfrm>
          <a:off x="1064141" y="324803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8FAFAC-9EC0-4849-93E0-72C63081B0E3}">
      <dsp:nvSpPr>
        <dsp:cNvPr id="0" name=""/>
        <dsp:cNvSpPr/>
      </dsp:nvSpPr>
      <dsp:spPr>
        <a:xfrm>
          <a:off x="1161917" y="3175888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175888"/>
        <a:ext cx="693316" cy="144296"/>
      </dsp:txXfrm>
    </dsp:sp>
    <dsp:sp modelId="{D657EFDB-1062-4DFC-B187-23896B42DB75}">
      <dsp:nvSpPr>
        <dsp:cNvPr id="0" name=""/>
        <dsp:cNvSpPr/>
      </dsp:nvSpPr>
      <dsp:spPr>
        <a:xfrm>
          <a:off x="1855233" y="324803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029421-AED9-45D6-A3F4-1B37F49D428C}">
      <dsp:nvSpPr>
        <dsp:cNvPr id="0" name=""/>
        <dsp:cNvSpPr/>
      </dsp:nvSpPr>
      <dsp:spPr>
        <a:xfrm rot="4838640">
          <a:off x="345397" y="2782319"/>
          <a:ext cx="123647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364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AB348D-C36B-49E7-A972-985A23AC50E8}">
      <dsp:nvSpPr>
        <dsp:cNvPr id="0" name=""/>
        <dsp:cNvSpPr/>
      </dsp:nvSpPr>
      <dsp:spPr>
        <a:xfrm rot="5961360">
          <a:off x="1435277" y="2782319"/>
          <a:ext cx="123647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364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055834-166B-4E7C-9169-8042CD23C98C}">
      <dsp:nvSpPr>
        <dsp:cNvPr id="0" name=""/>
        <dsp:cNvSpPr/>
      </dsp:nvSpPr>
      <dsp:spPr>
        <a:xfrm>
          <a:off x="1064141" y="339233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46A6EA-AB40-452C-BF1E-B9CFB814D62F}">
      <dsp:nvSpPr>
        <dsp:cNvPr id="0" name=""/>
        <dsp:cNvSpPr/>
      </dsp:nvSpPr>
      <dsp:spPr>
        <a:xfrm>
          <a:off x="1161917" y="3320185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320185"/>
        <a:ext cx="693316" cy="144296"/>
      </dsp:txXfrm>
    </dsp:sp>
    <dsp:sp modelId="{334D3AEB-67DF-42D6-BA10-36DC0C1CEE15}">
      <dsp:nvSpPr>
        <dsp:cNvPr id="0" name=""/>
        <dsp:cNvSpPr/>
      </dsp:nvSpPr>
      <dsp:spPr>
        <a:xfrm>
          <a:off x="1855233" y="339233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ACAD1E-C2BC-4D1C-8AB6-FC81ECC1A39A}">
      <dsp:nvSpPr>
        <dsp:cNvPr id="0" name=""/>
        <dsp:cNvSpPr/>
      </dsp:nvSpPr>
      <dsp:spPr>
        <a:xfrm rot="4891286">
          <a:off x="281960" y="2862404"/>
          <a:ext cx="13633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335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C9480B-1B01-4E19-B10F-A12402530236}">
      <dsp:nvSpPr>
        <dsp:cNvPr id="0" name=""/>
        <dsp:cNvSpPr/>
      </dsp:nvSpPr>
      <dsp:spPr>
        <a:xfrm rot="5908714">
          <a:off x="1371839" y="2862404"/>
          <a:ext cx="13633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6335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9C9A65-2431-4B73-B990-3C26E6D635B4}">
      <dsp:nvSpPr>
        <dsp:cNvPr id="0" name=""/>
        <dsp:cNvSpPr/>
      </dsp:nvSpPr>
      <dsp:spPr>
        <a:xfrm>
          <a:off x="1064141" y="353662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7AF87E-BB59-4C74-8678-9DDA9B1DF720}">
      <dsp:nvSpPr>
        <dsp:cNvPr id="0" name=""/>
        <dsp:cNvSpPr/>
      </dsp:nvSpPr>
      <dsp:spPr>
        <a:xfrm>
          <a:off x="1161917" y="3464481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464481"/>
        <a:ext cx="693316" cy="144296"/>
      </dsp:txXfrm>
    </dsp:sp>
    <dsp:sp modelId="{D126C95A-513D-49FF-A059-D64A144DDE1B}">
      <dsp:nvSpPr>
        <dsp:cNvPr id="0" name=""/>
        <dsp:cNvSpPr/>
      </dsp:nvSpPr>
      <dsp:spPr>
        <a:xfrm>
          <a:off x="1855233" y="353662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AA7263-F87C-4938-A17C-58B8CD0D1B17}">
      <dsp:nvSpPr>
        <dsp:cNvPr id="0" name=""/>
        <dsp:cNvSpPr/>
      </dsp:nvSpPr>
      <dsp:spPr>
        <a:xfrm rot="4934960">
          <a:off x="218389" y="2942488"/>
          <a:ext cx="14904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04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4F1066-36F9-4201-8AF7-9ADE319E134F}">
      <dsp:nvSpPr>
        <dsp:cNvPr id="0" name=""/>
        <dsp:cNvSpPr/>
      </dsp:nvSpPr>
      <dsp:spPr>
        <a:xfrm rot="5865040">
          <a:off x="1308269" y="2942488"/>
          <a:ext cx="14904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904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CB4762-8395-44A9-BF42-14B29628530A}">
      <dsp:nvSpPr>
        <dsp:cNvPr id="0" name=""/>
        <dsp:cNvSpPr/>
      </dsp:nvSpPr>
      <dsp:spPr>
        <a:xfrm>
          <a:off x="1064141" y="368092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1569D2-6C5A-4380-AB61-0E1FE232381E}">
      <dsp:nvSpPr>
        <dsp:cNvPr id="0" name=""/>
        <dsp:cNvSpPr/>
      </dsp:nvSpPr>
      <dsp:spPr>
        <a:xfrm>
          <a:off x="1161917" y="3608778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608778"/>
        <a:ext cx="693316" cy="144296"/>
      </dsp:txXfrm>
    </dsp:sp>
    <dsp:sp modelId="{C97A3678-72D9-4B34-AAB5-E284B5BB1B7F}">
      <dsp:nvSpPr>
        <dsp:cNvPr id="0" name=""/>
        <dsp:cNvSpPr/>
      </dsp:nvSpPr>
      <dsp:spPr>
        <a:xfrm>
          <a:off x="1855233" y="368092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484F9A-4109-4609-B273-4ED59A4F7AFB}">
      <dsp:nvSpPr>
        <dsp:cNvPr id="0" name=""/>
        <dsp:cNvSpPr/>
      </dsp:nvSpPr>
      <dsp:spPr>
        <a:xfrm rot="4971763">
          <a:off x="154718" y="3022573"/>
          <a:ext cx="161783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1783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FE35FF-472A-41BE-942B-582EEF79AA0A}">
      <dsp:nvSpPr>
        <dsp:cNvPr id="0" name=""/>
        <dsp:cNvSpPr/>
      </dsp:nvSpPr>
      <dsp:spPr>
        <a:xfrm rot="5828237">
          <a:off x="1244597" y="3022573"/>
          <a:ext cx="161783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1783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C44C40-5975-4890-BA69-248168E6C05A}">
      <dsp:nvSpPr>
        <dsp:cNvPr id="0" name=""/>
        <dsp:cNvSpPr/>
      </dsp:nvSpPr>
      <dsp:spPr>
        <a:xfrm>
          <a:off x="1064141" y="382522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89883E-8CD2-4D92-A079-C5204C130121}">
      <dsp:nvSpPr>
        <dsp:cNvPr id="0" name=""/>
        <dsp:cNvSpPr/>
      </dsp:nvSpPr>
      <dsp:spPr>
        <a:xfrm>
          <a:off x="1161917" y="3753074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753074"/>
        <a:ext cx="693316" cy="144296"/>
      </dsp:txXfrm>
    </dsp:sp>
    <dsp:sp modelId="{CF91065E-5DE0-4F84-94ED-252819156E4C}">
      <dsp:nvSpPr>
        <dsp:cNvPr id="0" name=""/>
        <dsp:cNvSpPr/>
      </dsp:nvSpPr>
      <dsp:spPr>
        <a:xfrm>
          <a:off x="1855233" y="382522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12FC46-BC3F-438D-92E2-753EB48B84F6}">
      <dsp:nvSpPr>
        <dsp:cNvPr id="0" name=""/>
        <dsp:cNvSpPr/>
      </dsp:nvSpPr>
      <dsp:spPr>
        <a:xfrm rot="5003192">
          <a:off x="90967" y="3102657"/>
          <a:ext cx="17453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453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840F3B-4D74-4FB6-A1F7-3098BD8E3245}">
      <dsp:nvSpPr>
        <dsp:cNvPr id="0" name=""/>
        <dsp:cNvSpPr/>
      </dsp:nvSpPr>
      <dsp:spPr>
        <a:xfrm rot="5796808">
          <a:off x="1180846" y="3102657"/>
          <a:ext cx="17453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453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1993CB-1640-4FEB-BA94-FE83A447ED4B}">
      <dsp:nvSpPr>
        <dsp:cNvPr id="0" name=""/>
        <dsp:cNvSpPr/>
      </dsp:nvSpPr>
      <dsp:spPr>
        <a:xfrm>
          <a:off x="1064141" y="396951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834583-E167-44CC-A079-504B3DD94979}">
      <dsp:nvSpPr>
        <dsp:cNvPr id="0" name=""/>
        <dsp:cNvSpPr/>
      </dsp:nvSpPr>
      <dsp:spPr>
        <a:xfrm>
          <a:off x="1161917" y="3897371"/>
          <a:ext cx="693316" cy="14429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1161917" y="3897371"/>
        <a:ext cx="693316" cy="144296"/>
      </dsp:txXfrm>
    </dsp:sp>
    <dsp:sp modelId="{9E23921C-455B-4157-92C6-0F8439020DC3}">
      <dsp:nvSpPr>
        <dsp:cNvPr id="0" name=""/>
        <dsp:cNvSpPr/>
      </dsp:nvSpPr>
      <dsp:spPr>
        <a:xfrm>
          <a:off x="1855233" y="396951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EFC1D7-8BE1-4F2D-8701-5971C8236BF1}">
      <dsp:nvSpPr>
        <dsp:cNvPr id="0" name=""/>
        <dsp:cNvSpPr/>
      </dsp:nvSpPr>
      <dsp:spPr>
        <a:xfrm>
          <a:off x="2178865" y="1603264"/>
          <a:ext cx="836502" cy="836502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Vistable</a:t>
          </a:r>
        </a:p>
      </dsp:txBody>
      <dsp:txXfrm>
        <a:off x="2301368" y="1725767"/>
        <a:ext cx="591496" cy="591496"/>
      </dsp:txXfrm>
    </dsp:sp>
    <dsp:sp modelId="{D70DE1A1-3CA2-4289-98A1-DE3E097DAC85}">
      <dsp:nvSpPr>
        <dsp:cNvPr id="0" name=""/>
        <dsp:cNvSpPr/>
      </dsp:nvSpPr>
      <dsp:spPr>
        <a:xfrm rot="17005009">
          <a:off x="2399762" y="970556"/>
          <a:ext cx="173260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260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F43D0F-D860-4B41-BBF5-EE3BDB91F33E}">
      <dsp:nvSpPr>
        <dsp:cNvPr id="0" name=""/>
        <dsp:cNvSpPr/>
      </dsp:nvSpPr>
      <dsp:spPr>
        <a:xfrm rot="15370624">
          <a:off x="3693687" y="972852"/>
          <a:ext cx="17403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403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623963-0646-4EE5-8E63-9466ED32768D}">
      <dsp:nvSpPr>
        <dsp:cNvPr id="0" name=""/>
        <dsp:cNvSpPr/>
      </dsp:nvSpPr>
      <dsp:spPr>
        <a:xfrm>
          <a:off x="3467079" y="12789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9ED71A-952E-42A2-B1A7-50BADED565C0}">
      <dsp:nvSpPr>
        <dsp:cNvPr id="0" name=""/>
        <dsp:cNvSpPr/>
      </dsp:nvSpPr>
      <dsp:spPr>
        <a:xfrm>
          <a:off x="3564854" y="1653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1653"/>
        <a:ext cx="693316" cy="252482"/>
      </dsp:txXfrm>
    </dsp:sp>
    <dsp:sp modelId="{9D016548-EAAC-43E4-81C1-0A2980136FE0}">
      <dsp:nvSpPr>
        <dsp:cNvPr id="0" name=""/>
        <dsp:cNvSpPr/>
      </dsp:nvSpPr>
      <dsp:spPr>
        <a:xfrm>
          <a:off x="4258171" y="12789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B537FE-DE44-4211-8912-D746C317451F}">
      <dsp:nvSpPr>
        <dsp:cNvPr id="0" name=""/>
        <dsp:cNvSpPr/>
      </dsp:nvSpPr>
      <dsp:spPr>
        <a:xfrm rot="17123351">
          <a:off x="2508602" y="1110684"/>
          <a:ext cx="151493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14930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0BC3BA-B796-473D-A20C-F3AF9E087AE1}">
      <dsp:nvSpPr>
        <dsp:cNvPr id="0" name=""/>
        <dsp:cNvSpPr/>
      </dsp:nvSpPr>
      <dsp:spPr>
        <a:xfrm rot="15249418">
          <a:off x="3802315" y="1112980"/>
          <a:ext cx="152306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2306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5EB410-236C-4095-A2F7-167DD4DF6967}">
      <dsp:nvSpPr>
        <dsp:cNvPr id="0" name=""/>
        <dsp:cNvSpPr/>
      </dsp:nvSpPr>
      <dsp:spPr>
        <a:xfrm>
          <a:off x="3467079" y="38037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2AF5FB-F8BB-4E9C-A3B5-44F2191A3712}">
      <dsp:nvSpPr>
        <dsp:cNvPr id="0" name=""/>
        <dsp:cNvSpPr/>
      </dsp:nvSpPr>
      <dsp:spPr>
        <a:xfrm>
          <a:off x="3564854" y="254135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254135"/>
        <a:ext cx="693316" cy="252482"/>
      </dsp:txXfrm>
    </dsp:sp>
    <dsp:sp modelId="{5ADBEB02-8797-4EFA-84B8-D9E70AEA2E71}">
      <dsp:nvSpPr>
        <dsp:cNvPr id="0" name=""/>
        <dsp:cNvSpPr/>
      </dsp:nvSpPr>
      <dsp:spPr>
        <a:xfrm>
          <a:off x="4258171" y="38037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5545CE-7A7D-4186-90F0-A5989DD22D0E}">
      <dsp:nvSpPr>
        <dsp:cNvPr id="0" name=""/>
        <dsp:cNvSpPr/>
      </dsp:nvSpPr>
      <dsp:spPr>
        <a:xfrm rot="17281141">
          <a:off x="2616244" y="1250812"/>
          <a:ext cx="129964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9964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CB9791-97D2-43A4-8929-941809B0A5F1}">
      <dsp:nvSpPr>
        <dsp:cNvPr id="0" name=""/>
        <dsp:cNvSpPr/>
      </dsp:nvSpPr>
      <dsp:spPr>
        <a:xfrm rot="15088166">
          <a:off x="3909682" y="1253108"/>
          <a:ext cx="13083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0832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7F5450-C9B2-451B-9488-CDB8FDFBCE3E}">
      <dsp:nvSpPr>
        <dsp:cNvPr id="0" name=""/>
        <dsp:cNvSpPr/>
      </dsp:nvSpPr>
      <dsp:spPr>
        <a:xfrm>
          <a:off x="3467079" y="63286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B29999-E830-48D3-9636-F1ABA5ED1FD8}">
      <dsp:nvSpPr>
        <dsp:cNvPr id="0" name=""/>
        <dsp:cNvSpPr/>
      </dsp:nvSpPr>
      <dsp:spPr>
        <a:xfrm>
          <a:off x="3564854" y="506618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506618"/>
        <a:ext cx="693316" cy="252482"/>
      </dsp:txXfrm>
    </dsp:sp>
    <dsp:sp modelId="{6D979B53-D9FF-44B4-AC38-BF5BE720D744}">
      <dsp:nvSpPr>
        <dsp:cNvPr id="0" name=""/>
        <dsp:cNvSpPr/>
      </dsp:nvSpPr>
      <dsp:spPr>
        <a:xfrm>
          <a:off x="4258171" y="63286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EF4E8D-C5A2-47CB-B230-F09C88B0385F}">
      <dsp:nvSpPr>
        <dsp:cNvPr id="0" name=""/>
        <dsp:cNvSpPr/>
      </dsp:nvSpPr>
      <dsp:spPr>
        <a:xfrm rot="17500885">
          <a:off x="2721977" y="1390940"/>
          <a:ext cx="108817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817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63DBC4-4685-45AD-9A63-1FAE29A8F046}">
      <dsp:nvSpPr>
        <dsp:cNvPr id="0" name=""/>
        <dsp:cNvSpPr/>
      </dsp:nvSpPr>
      <dsp:spPr>
        <a:xfrm rot="14864331">
          <a:off x="4015049" y="1393236"/>
          <a:ext cx="109759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9759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6E1712-FE95-428A-AD7D-65559F1A546E}">
      <dsp:nvSpPr>
        <dsp:cNvPr id="0" name=""/>
        <dsp:cNvSpPr/>
      </dsp:nvSpPr>
      <dsp:spPr>
        <a:xfrm>
          <a:off x="3467079" y="8853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FE4589-E40A-4563-B997-AC9F09C77F87}">
      <dsp:nvSpPr>
        <dsp:cNvPr id="0" name=""/>
        <dsp:cNvSpPr/>
      </dsp:nvSpPr>
      <dsp:spPr>
        <a:xfrm>
          <a:off x="3564854" y="759101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759101"/>
        <a:ext cx="693316" cy="252482"/>
      </dsp:txXfrm>
    </dsp:sp>
    <dsp:sp modelId="{BF28D1D9-0EA9-49B8-925E-A2F2E8CD1468}">
      <dsp:nvSpPr>
        <dsp:cNvPr id="0" name=""/>
        <dsp:cNvSpPr/>
      </dsp:nvSpPr>
      <dsp:spPr>
        <a:xfrm>
          <a:off x="4258171" y="8853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2D0D80-28F4-4ADD-92CF-2EC43345C472}">
      <dsp:nvSpPr>
        <dsp:cNvPr id="0" name=""/>
        <dsp:cNvSpPr/>
      </dsp:nvSpPr>
      <dsp:spPr>
        <a:xfrm rot="17824472">
          <a:off x="2824428" y="1531068"/>
          <a:ext cx="8832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832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4E6265-EC5A-4180-B2A1-A5DB8F375330}">
      <dsp:nvSpPr>
        <dsp:cNvPr id="0" name=""/>
        <dsp:cNvSpPr/>
      </dsp:nvSpPr>
      <dsp:spPr>
        <a:xfrm rot="14536381">
          <a:off x="4116998" y="1533364"/>
          <a:ext cx="89369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369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807556-F9FF-48C2-A670-692F77995FDA}">
      <dsp:nvSpPr>
        <dsp:cNvPr id="0" name=""/>
        <dsp:cNvSpPr/>
      </dsp:nvSpPr>
      <dsp:spPr>
        <a:xfrm>
          <a:off x="3467079" y="113782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BA4F54-3851-45E2-A0C3-A983235BD595}">
      <dsp:nvSpPr>
        <dsp:cNvPr id="0" name=""/>
        <dsp:cNvSpPr/>
      </dsp:nvSpPr>
      <dsp:spPr>
        <a:xfrm>
          <a:off x="3564854" y="1011584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1011584"/>
        <a:ext cx="693316" cy="252482"/>
      </dsp:txXfrm>
    </dsp:sp>
    <dsp:sp modelId="{4875C281-A5D2-4226-B999-7A66A3EF29BB}">
      <dsp:nvSpPr>
        <dsp:cNvPr id="0" name=""/>
        <dsp:cNvSpPr/>
      </dsp:nvSpPr>
      <dsp:spPr>
        <a:xfrm>
          <a:off x="4258171" y="113782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1D6F0D-7E4A-4FD9-BF6B-37C460F104C5}">
      <dsp:nvSpPr>
        <dsp:cNvPr id="0" name=""/>
        <dsp:cNvSpPr/>
      </dsp:nvSpPr>
      <dsp:spPr>
        <a:xfrm rot="18335321">
          <a:off x="2920664" y="1671196"/>
          <a:ext cx="69080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9080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9519DD-DE84-4E9A-871A-A6A6CD28DD52}">
      <dsp:nvSpPr>
        <dsp:cNvPr id="0" name=""/>
        <dsp:cNvSpPr/>
      </dsp:nvSpPr>
      <dsp:spPr>
        <a:xfrm rot="14022939">
          <a:off x="4212541" y="1673492"/>
          <a:ext cx="70261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0261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B10809-177C-46BE-8758-723F3FE2B08A}">
      <dsp:nvSpPr>
        <dsp:cNvPr id="0" name=""/>
        <dsp:cNvSpPr/>
      </dsp:nvSpPr>
      <dsp:spPr>
        <a:xfrm>
          <a:off x="3467079" y="139030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168486-C987-44BC-9278-3784C0323F7A}">
      <dsp:nvSpPr>
        <dsp:cNvPr id="0" name=""/>
        <dsp:cNvSpPr/>
      </dsp:nvSpPr>
      <dsp:spPr>
        <a:xfrm>
          <a:off x="3564854" y="1264067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1264067"/>
        <a:ext cx="693316" cy="252482"/>
      </dsp:txXfrm>
    </dsp:sp>
    <dsp:sp modelId="{232335E7-F634-4677-BB63-77078A4E6743}">
      <dsp:nvSpPr>
        <dsp:cNvPr id="0" name=""/>
        <dsp:cNvSpPr/>
      </dsp:nvSpPr>
      <dsp:spPr>
        <a:xfrm>
          <a:off x="4258171" y="139030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337EE0-6922-4AAD-88A9-2EF061017558}">
      <dsp:nvSpPr>
        <dsp:cNvPr id="0" name=""/>
        <dsp:cNvSpPr/>
      </dsp:nvSpPr>
      <dsp:spPr>
        <a:xfrm rot="19201370">
          <a:off x="3003753" y="1811324"/>
          <a:ext cx="5246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2462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C5077F-28AA-4DF7-931A-9DC4F0ADBFD1}">
      <dsp:nvSpPr>
        <dsp:cNvPr id="0" name=""/>
        <dsp:cNvSpPr/>
      </dsp:nvSpPr>
      <dsp:spPr>
        <a:xfrm rot="13164571">
          <a:off x="4294765" y="1813620"/>
          <a:ext cx="53816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3816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EE5AB2-8809-410F-937C-68681CAE0EEE}">
      <dsp:nvSpPr>
        <dsp:cNvPr id="0" name=""/>
        <dsp:cNvSpPr/>
      </dsp:nvSpPr>
      <dsp:spPr>
        <a:xfrm>
          <a:off x="3467079" y="164279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836BC8-DFEF-45D6-B8EF-59015ABC36ED}">
      <dsp:nvSpPr>
        <dsp:cNvPr id="0" name=""/>
        <dsp:cNvSpPr/>
      </dsp:nvSpPr>
      <dsp:spPr>
        <a:xfrm>
          <a:off x="3564854" y="1516550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1516550"/>
        <a:ext cx="693316" cy="252482"/>
      </dsp:txXfrm>
    </dsp:sp>
    <dsp:sp modelId="{1E180115-E995-4F59-A1BA-22A480A038EF}">
      <dsp:nvSpPr>
        <dsp:cNvPr id="0" name=""/>
        <dsp:cNvSpPr/>
      </dsp:nvSpPr>
      <dsp:spPr>
        <a:xfrm>
          <a:off x="4258171" y="164279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49A4B-899E-4B0B-BAB9-D1E03FBBD4AA}">
      <dsp:nvSpPr>
        <dsp:cNvPr id="0" name=""/>
        <dsp:cNvSpPr/>
      </dsp:nvSpPr>
      <dsp:spPr>
        <a:xfrm rot="20663143">
          <a:off x="3057353" y="1951452"/>
          <a:ext cx="4174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1742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97B9B0-9A99-46C1-9EDE-2D2AE6FC87E0}">
      <dsp:nvSpPr>
        <dsp:cNvPr id="0" name=""/>
        <dsp:cNvSpPr/>
      </dsp:nvSpPr>
      <dsp:spPr>
        <a:xfrm rot="11742553">
          <a:off x="4347880" y="1953748"/>
          <a:ext cx="43193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3193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69C344-933A-4513-BC0C-AFD57CD48BF0}">
      <dsp:nvSpPr>
        <dsp:cNvPr id="0" name=""/>
        <dsp:cNvSpPr/>
      </dsp:nvSpPr>
      <dsp:spPr>
        <a:xfrm>
          <a:off x="3467079" y="189527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798DCD-694D-4EAE-A0B4-3181F8768637}">
      <dsp:nvSpPr>
        <dsp:cNvPr id="0" name=""/>
        <dsp:cNvSpPr/>
      </dsp:nvSpPr>
      <dsp:spPr>
        <a:xfrm>
          <a:off x="3564854" y="1769033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1769033"/>
        <a:ext cx="693316" cy="252482"/>
      </dsp:txXfrm>
    </dsp:sp>
    <dsp:sp modelId="{6C7EC45E-E7AC-4D16-9E16-DD02F567B563}">
      <dsp:nvSpPr>
        <dsp:cNvPr id="0" name=""/>
        <dsp:cNvSpPr/>
      </dsp:nvSpPr>
      <dsp:spPr>
        <a:xfrm>
          <a:off x="4258171" y="189527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DB6644-8A0E-4D48-8271-8DAE90AA7C08}">
      <dsp:nvSpPr>
        <dsp:cNvPr id="0" name=""/>
        <dsp:cNvSpPr/>
      </dsp:nvSpPr>
      <dsp:spPr>
        <a:xfrm rot="936857">
          <a:off x="3057353" y="2091579"/>
          <a:ext cx="4174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1742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19BA7-6DBC-4A5E-8489-0C8E34E0789C}">
      <dsp:nvSpPr>
        <dsp:cNvPr id="0" name=""/>
        <dsp:cNvSpPr/>
      </dsp:nvSpPr>
      <dsp:spPr>
        <a:xfrm rot="9928233">
          <a:off x="4349078" y="2093876"/>
          <a:ext cx="4295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295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0313F2-D8B9-4979-A8CA-CF407D879479}">
      <dsp:nvSpPr>
        <dsp:cNvPr id="0" name=""/>
        <dsp:cNvSpPr/>
      </dsp:nvSpPr>
      <dsp:spPr>
        <a:xfrm>
          <a:off x="3467079" y="214775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A493F1-C17D-48CC-B65F-55AB9ED3DE64}">
      <dsp:nvSpPr>
        <dsp:cNvPr id="0" name=""/>
        <dsp:cNvSpPr/>
      </dsp:nvSpPr>
      <dsp:spPr>
        <a:xfrm>
          <a:off x="3564854" y="2021515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2021515"/>
        <a:ext cx="693316" cy="252482"/>
      </dsp:txXfrm>
    </dsp:sp>
    <dsp:sp modelId="{69FE835E-959A-40BA-A551-2AAC17DC2448}">
      <dsp:nvSpPr>
        <dsp:cNvPr id="0" name=""/>
        <dsp:cNvSpPr/>
      </dsp:nvSpPr>
      <dsp:spPr>
        <a:xfrm>
          <a:off x="4258171" y="214775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AA9F9D-4641-437B-B3E0-32FC081C428E}">
      <dsp:nvSpPr>
        <dsp:cNvPr id="0" name=""/>
        <dsp:cNvSpPr/>
      </dsp:nvSpPr>
      <dsp:spPr>
        <a:xfrm rot="2398630">
          <a:off x="3003753" y="2231707"/>
          <a:ext cx="52462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2462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FA5B6C-BD3D-4609-89E2-1816426CFDF9}">
      <dsp:nvSpPr>
        <dsp:cNvPr id="0" name=""/>
        <dsp:cNvSpPr/>
      </dsp:nvSpPr>
      <dsp:spPr>
        <a:xfrm rot="8481265">
          <a:off x="4297657" y="2234004"/>
          <a:ext cx="53237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3237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1EF1A6-3E6E-43A3-910C-8760DAE8C8A8}">
      <dsp:nvSpPr>
        <dsp:cNvPr id="0" name=""/>
        <dsp:cNvSpPr/>
      </dsp:nvSpPr>
      <dsp:spPr>
        <a:xfrm>
          <a:off x="3467079" y="240024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4789D2-B9E4-4787-B14D-5258B1A17AC1}">
      <dsp:nvSpPr>
        <dsp:cNvPr id="0" name=""/>
        <dsp:cNvSpPr/>
      </dsp:nvSpPr>
      <dsp:spPr>
        <a:xfrm>
          <a:off x="3564854" y="2273998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2273998"/>
        <a:ext cx="693316" cy="252482"/>
      </dsp:txXfrm>
    </dsp:sp>
    <dsp:sp modelId="{85782311-6E56-4D2B-B116-A5B046AA33AE}">
      <dsp:nvSpPr>
        <dsp:cNvPr id="0" name=""/>
        <dsp:cNvSpPr/>
      </dsp:nvSpPr>
      <dsp:spPr>
        <a:xfrm>
          <a:off x="4258171" y="240024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E48C44-8421-4B47-9B82-BD1AB58792A2}">
      <dsp:nvSpPr>
        <dsp:cNvPr id="0" name=""/>
        <dsp:cNvSpPr/>
      </dsp:nvSpPr>
      <dsp:spPr>
        <a:xfrm rot="3264679">
          <a:off x="2920664" y="2371835"/>
          <a:ext cx="69080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9080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7E92F7-50C8-45DD-B507-4CEF49595E7C}">
      <dsp:nvSpPr>
        <dsp:cNvPr id="0" name=""/>
        <dsp:cNvSpPr/>
      </dsp:nvSpPr>
      <dsp:spPr>
        <a:xfrm rot="7603945">
          <a:off x="4216233" y="2374132"/>
          <a:ext cx="69522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9522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CC0FC-B168-4B59-831F-B0CED43BD59D}">
      <dsp:nvSpPr>
        <dsp:cNvPr id="0" name=""/>
        <dsp:cNvSpPr/>
      </dsp:nvSpPr>
      <dsp:spPr>
        <a:xfrm>
          <a:off x="3467079" y="265272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C71BB9-B0C9-4297-94D1-F1660B5DCB67}">
      <dsp:nvSpPr>
        <dsp:cNvPr id="0" name=""/>
        <dsp:cNvSpPr/>
      </dsp:nvSpPr>
      <dsp:spPr>
        <a:xfrm>
          <a:off x="3564854" y="2526481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2526481"/>
        <a:ext cx="693316" cy="252482"/>
      </dsp:txXfrm>
    </dsp:sp>
    <dsp:sp modelId="{EB8DFE61-50B0-4941-999C-F6D0CEEC98E5}">
      <dsp:nvSpPr>
        <dsp:cNvPr id="0" name=""/>
        <dsp:cNvSpPr/>
      </dsp:nvSpPr>
      <dsp:spPr>
        <a:xfrm>
          <a:off x="4258171" y="265272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8A9B81-5603-4867-80F5-6AA3CB3DA702}">
      <dsp:nvSpPr>
        <dsp:cNvPr id="0" name=""/>
        <dsp:cNvSpPr/>
      </dsp:nvSpPr>
      <dsp:spPr>
        <a:xfrm rot="3775528">
          <a:off x="2824428" y="2511963"/>
          <a:ext cx="8832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832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9D3083-74BF-4924-AC38-62FF6ECE7A57}">
      <dsp:nvSpPr>
        <dsp:cNvPr id="0" name=""/>
        <dsp:cNvSpPr/>
      </dsp:nvSpPr>
      <dsp:spPr>
        <a:xfrm rot="7080212">
          <a:off x="4121059" y="2514260"/>
          <a:ext cx="88557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8557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06E6B7-CF15-49C9-9B84-10419488D51F}">
      <dsp:nvSpPr>
        <dsp:cNvPr id="0" name=""/>
        <dsp:cNvSpPr/>
      </dsp:nvSpPr>
      <dsp:spPr>
        <a:xfrm>
          <a:off x="3467079" y="290520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46FB80-5482-41EA-991C-700E1BEAE988}">
      <dsp:nvSpPr>
        <dsp:cNvPr id="0" name=""/>
        <dsp:cNvSpPr/>
      </dsp:nvSpPr>
      <dsp:spPr>
        <a:xfrm>
          <a:off x="3564854" y="2778964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2778964"/>
        <a:ext cx="693316" cy="252482"/>
      </dsp:txXfrm>
    </dsp:sp>
    <dsp:sp modelId="{E1ACFC3B-55C9-424A-BF73-F493778566B6}">
      <dsp:nvSpPr>
        <dsp:cNvPr id="0" name=""/>
        <dsp:cNvSpPr/>
      </dsp:nvSpPr>
      <dsp:spPr>
        <a:xfrm>
          <a:off x="4258171" y="290520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859A99-2A03-41EE-AFD6-F7AC5BC37879}">
      <dsp:nvSpPr>
        <dsp:cNvPr id="0" name=""/>
        <dsp:cNvSpPr/>
      </dsp:nvSpPr>
      <dsp:spPr>
        <a:xfrm rot="4099115">
          <a:off x="2721977" y="2652091"/>
          <a:ext cx="108817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817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FD36A8-9B76-4FA9-93B7-51A1E58A2E39}">
      <dsp:nvSpPr>
        <dsp:cNvPr id="0" name=""/>
        <dsp:cNvSpPr/>
      </dsp:nvSpPr>
      <dsp:spPr>
        <a:xfrm rot="6746655">
          <a:off x="4019298" y="2654388"/>
          <a:ext cx="108909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909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88FAE1-E2E5-426C-A1F5-AFCF99A0C07F}">
      <dsp:nvSpPr>
        <dsp:cNvPr id="0" name=""/>
        <dsp:cNvSpPr/>
      </dsp:nvSpPr>
      <dsp:spPr>
        <a:xfrm>
          <a:off x="3467079" y="31576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320285-F1F0-4098-B378-F46F92806B36}">
      <dsp:nvSpPr>
        <dsp:cNvPr id="0" name=""/>
        <dsp:cNvSpPr/>
      </dsp:nvSpPr>
      <dsp:spPr>
        <a:xfrm>
          <a:off x="3564854" y="3031447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3031447"/>
        <a:ext cx="693316" cy="252482"/>
      </dsp:txXfrm>
    </dsp:sp>
    <dsp:sp modelId="{611C0E2B-DEBC-4593-BE0A-0C7C2A9C13B8}">
      <dsp:nvSpPr>
        <dsp:cNvPr id="0" name=""/>
        <dsp:cNvSpPr/>
      </dsp:nvSpPr>
      <dsp:spPr>
        <a:xfrm>
          <a:off x="4258171" y="31576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153944-FF65-4147-8A02-4E2D5EE431B6}">
      <dsp:nvSpPr>
        <dsp:cNvPr id="0" name=""/>
        <dsp:cNvSpPr/>
      </dsp:nvSpPr>
      <dsp:spPr>
        <a:xfrm rot="4318859">
          <a:off x="2616244" y="2792219"/>
          <a:ext cx="129964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9964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ECFECE-EDC3-428C-9D48-CBB5946BC18C}">
      <dsp:nvSpPr>
        <dsp:cNvPr id="0" name=""/>
        <dsp:cNvSpPr/>
      </dsp:nvSpPr>
      <dsp:spPr>
        <a:xfrm rot="6519557">
          <a:off x="3914036" y="2794516"/>
          <a:ext cx="129962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99620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A7CAAB-D710-4554-8072-9AE3209D53ED}">
      <dsp:nvSpPr>
        <dsp:cNvPr id="0" name=""/>
        <dsp:cNvSpPr/>
      </dsp:nvSpPr>
      <dsp:spPr>
        <a:xfrm>
          <a:off x="3467079" y="341017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31DF09-13B3-4AE8-A20D-802BED35180E}">
      <dsp:nvSpPr>
        <dsp:cNvPr id="0" name=""/>
        <dsp:cNvSpPr/>
      </dsp:nvSpPr>
      <dsp:spPr>
        <a:xfrm>
          <a:off x="3564854" y="3283930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3283930"/>
        <a:ext cx="693316" cy="252482"/>
      </dsp:txXfrm>
    </dsp:sp>
    <dsp:sp modelId="{EDCC2F5A-56AD-40A8-9FED-57B756EDA269}">
      <dsp:nvSpPr>
        <dsp:cNvPr id="0" name=""/>
        <dsp:cNvSpPr/>
      </dsp:nvSpPr>
      <dsp:spPr>
        <a:xfrm>
          <a:off x="4258171" y="341017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0F426D-E997-448F-BBE3-ADE8F0114175}">
      <dsp:nvSpPr>
        <dsp:cNvPr id="0" name=""/>
        <dsp:cNvSpPr/>
      </dsp:nvSpPr>
      <dsp:spPr>
        <a:xfrm rot="4476649">
          <a:off x="2508602" y="2932347"/>
          <a:ext cx="151493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14930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A2ECC7-F1BA-4191-A4AA-C7F6CB03572A}">
      <dsp:nvSpPr>
        <dsp:cNvPr id="0" name=""/>
        <dsp:cNvSpPr/>
      </dsp:nvSpPr>
      <dsp:spPr>
        <a:xfrm rot="6356276">
          <a:off x="3806733" y="2934644"/>
          <a:ext cx="151422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51422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45924E-B9A3-4723-8999-151E80C6D2B1}">
      <dsp:nvSpPr>
        <dsp:cNvPr id="0" name=""/>
        <dsp:cNvSpPr/>
      </dsp:nvSpPr>
      <dsp:spPr>
        <a:xfrm>
          <a:off x="3467079" y="366265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53DB99-6F27-4824-BEDD-8BAD67DE9BD1}">
      <dsp:nvSpPr>
        <dsp:cNvPr id="0" name=""/>
        <dsp:cNvSpPr/>
      </dsp:nvSpPr>
      <dsp:spPr>
        <a:xfrm>
          <a:off x="3564854" y="3536413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3536413"/>
        <a:ext cx="693316" cy="252482"/>
      </dsp:txXfrm>
    </dsp:sp>
    <dsp:sp modelId="{7681B7C7-7F73-40EF-89F8-D4F0E13FC8CA}">
      <dsp:nvSpPr>
        <dsp:cNvPr id="0" name=""/>
        <dsp:cNvSpPr/>
      </dsp:nvSpPr>
      <dsp:spPr>
        <a:xfrm>
          <a:off x="4258171" y="366265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8A0874-4FDD-4033-BB98-25DAB09FE0FA}">
      <dsp:nvSpPr>
        <dsp:cNvPr id="0" name=""/>
        <dsp:cNvSpPr/>
      </dsp:nvSpPr>
      <dsp:spPr>
        <a:xfrm rot="4594991">
          <a:off x="2399762" y="3072475"/>
          <a:ext cx="173260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260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2BD1A7-F79A-4E20-B15B-FBAF9C9238EE}">
      <dsp:nvSpPr>
        <dsp:cNvPr id="0" name=""/>
        <dsp:cNvSpPr/>
      </dsp:nvSpPr>
      <dsp:spPr>
        <a:xfrm rot="6233734">
          <a:off x="3698147" y="3074772"/>
          <a:ext cx="173139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3139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FF5043-1395-43D2-8402-AEFA15C1A4DA}">
      <dsp:nvSpPr>
        <dsp:cNvPr id="0" name=""/>
        <dsp:cNvSpPr/>
      </dsp:nvSpPr>
      <dsp:spPr>
        <a:xfrm>
          <a:off x="3467079" y="391513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FFBA7C-B9F8-4FEF-9991-5B78258EC781}">
      <dsp:nvSpPr>
        <dsp:cNvPr id="0" name=""/>
        <dsp:cNvSpPr/>
      </dsp:nvSpPr>
      <dsp:spPr>
        <a:xfrm>
          <a:off x="3564854" y="3788896"/>
          <a:ext cx="693316" cy="2524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Layout + Logistics KPI’s</a:t>
          </a:r>
        </a:p>
      </dsp:txBody>
      <dsp:txXfrm>
        <a:off x="3564854" y="3788896"/>
        <a:ext cx="693316" cy="252482"/>
      </dsp:txXfrm>
    </dsp:sp>
    <dsp:sp modelId="{45AAD990-21EB-4857-9086-49DF2C9FCA6F}">
      <dsp:nvSpPr>
        <dsp:cNvPr id="0" name=""/>
        <dsp:cNvSpPr/>
      </dsp:nvSpPr>
      <dsp:spPr>
        <a:xfrm>
          <a:off x="4258171" y="391513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8FD566-C190-410E-B7DB-16B5A2038472}">
      <dsp:nvSpPr>
        <dsp:cNvPr id="0" name=""/>
        <dsp:cNvSpPr/>
      </dsp:nvSpPr>
      <dsp:spPr>
        <a:xfrm>
          <a:off x="4823138" y="1608425"/>
          <a:ext cx="836502" cy="836502"/>
        </a:xfrm>
        <a:prstGeom prst="ellips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Revit</a:t>
          </a:r>
        </a:p>
      </dsp:txBody>
      <dsp:txXfrm>
        <a:off x="4945641" y="1730928"/>
        <a:ext cx="591496" cy="591496"/>
      </dsp:txXfrm>
    </dsp:sp>
    <dsp:sp modelId="{AEC61823-E0BA-4FA9-974C-8AC0397A0816}">
      <dsp:nvSpPr>
        <dsp:cNvPr id="0" name=""/>
        <dsp:cNvSpPr/>
      </dsp:nvSpPr>
      <dsp:spPr>
        <a:xfrm rot="16992872">
          <a:off x="5052559" y="995619"/>
          <a:ext cx="169837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9837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8AB225-ADA9-4A0D-B4EC-DB22E498F88C}">
      <dsp:nvSpPr>
        <dsp:cNvPr id="0" name=""/>
        <dsp:cNvSpPr/>
      </dsp:nvSpPr>
      <dsp:spPr>
        <a:xfrm rot="15377832">
          <a:off x="6337192" y="993322"/>
          <a:ext cx="16971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971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59D6B2-D40E-4F41-BE3B-D38BFAE06849}">
      <dsp:nvSpPr>
        <dsp:cNvPr id="0" name=""/>
        <dsp:cNvSpPr/>
      </dsp:nvSpPr>
      <dsp:spPr>
        <a:xfrm>
          <a:off x="6095872" y="16891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AF215D-A3BF-43FC-AA48-1FF1E090E1EF}">
      <dsp:nvSpPr>
        <dsp:cNvPr id="0" name=""/>
        <dsp:cNvSpPr/>
      </dsp:nvSpPr>
      <dsp:spPr>
        <a:xfrm>
          <a:off x="6193647" y="497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</a:t>
          </a:r>
        </a:p>
      </dsp:txBody>
      <dsp:txXfrm>
        <a:off x="6193647" y="497"/>
        <a:ext cx="693316" cy="336836"/>
      </dsp:txXfrm>
    </dsp:sp>
    <dsp:sp modelId="{D407C613-8224-460E-925F-E4D2EDFAEFD1}">
      <dsp:nvSpPr>
        <dsp:cNvPr id="0" name=""/>
        <dsp:cNvSpPr/>
      </dsp:nvSpPr>
      <dsp:spPr>
        <a:xfrm>
          <a:off x="6886964" y="168915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3053F8-ECA6-443C-9BAE-CA1E6BC1ADF4}">
      <dsp:nvSpPr>
        <dsp:cNvPr id="0" name=""/>
        <dsp:cNvSpPr/>
      </dsp:nvSpPr>
      <dsp:spPr>
        <a:xfrm rot="17160236">
          <a:off x="5197648" y="1182563"/>
          <a:ext cx="140820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0820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F1B5F3-8DA4-4730-B1D8-F2EF158C2C12}">
      <dsp:nvSpPr>
        <dsp:cNvPr id="0" name=""/>
        <dsp:cNvSpPr/>
      </dsp:nvSpPr>
      <dsp:spPr>
        <a:xfrm rot="15204328">
          <a:off x="6481921" y="1180267"/>
          <a:ext cx="140765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0765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8F2B1B-FE32-46F0-A179-89CB14C2BD01}">
      <dsp:nvSpPr>
        <dsp:cNvPr id="0" name=""/>
        <dsp:cNvSpPr/>
      </dsp:nvSpPr>
      <dsp:spPr>
        <a:xfrm>
          <a:off x="6095872" y="50575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3A7CA5-5C5B-4353-A281-AA50CB5463DE}">
      <dsp:nvSpPr>
        <dsp:cNvPr id="0" name=""/>
        <dsp:cNvSpPr/>
      </dsp:nvSpPr>
      <dsp:spPr>
        <a:xfrm>
          <a:off x="6193647" y="337333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2</a:t>
          </a:r>
        </a:p>
      </dsp:txBody>
      <dsp:txXfrm>
        <a:off x="6193647" y="337333"/>
        <a:ext cx="693316" cy="336836"/>
      </dsp:txXfrm>
    </dsp:sp>
    <dsp:sp modelId="{DCC134EC-CC6B-42AE-A84F-65A96D6BCC6F}">
      <dsp:nvSpPr>
        <dsp:cNvPr id="0" name=""/>
        <dsp:cNvSpPr/>
      </dsp:nvSpPr>
      <dsp:spPr>
        <a:xfrm>
          <a:off x="6886964" y="505752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6672CB-CEC5-40D0-BBEA-182EC8BFA46D}">
      <dsp:nvSpPr>
        <dsp:cNvPr id="0" name=""/>
        <dsp:cNvSpPr/>
      </dsp:nvSpPr>
      <dsp:spPr>
        <a:xfrm rot="17413461">
          <a:off x="5340208" y="1369508"/>
          <a:ext cx="112308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2308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A296FA-A2CC-4E57-BE08-83F82A43AC95}">
      <dsp:nvSpPr>
        <dsp:cNvPr id="0" name=""/>
        <dsp:cNvSpPr/>
      </dsp:nvSpPr>
      <dsp:spPr>
        <a:xfrm rot="14942126">
          <a:off x="6623937" y="1367211"/>
          <a:ext cx="112362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2362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6251B3-BDFF-4DCC-AB8D-AE2DEDDF674C}">
      <dsp:nvSpPr>
        <dsp:cNvPr id="0" name=""/>
        <dsp:cNvSpPr/>
      </dsp:nvSpPr>
      <dsp:spPr>
        <a:xfrm>
          <a:off x="6095872" y="8425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B685D8-9A68-4D57-9A00-00E6DFD2A60F}">
      <dsp:nvSpPr>
        <dsp:cNvPr id="0" name=""/>
        <dsp:cNvSpPr/>
      </dsp:nvSpPr>
      <dsp:spPr>
        <a:xfrm>
          <a:off x="6193647" y="674170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3</a:t>
          </a:r>
        </a:p>
      </dsp:txBody>
      <dsp:txXfrm>
        <a:off x="6193647" y="674170"/>
        <a:ext cx="693316" cy="336836"/>
      </dsp:txXfrm>
    </dsp:sp>
    <dsp:sp modelId="{3491390F-5FD4-427E-AEF3-82D463B91C4F}">
      <dsp:nvSpPr>
        <dsp:cNvPr id="0" name=""/>
        <dsp:cNvSpPr/>
      </dsp:nvSpPr>
      <dsp:spPr>
        <a:xfrm>
          <a:off x="6886964" y="842588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766DD2-1613-487F-9314-DC8CA7C8F87B}">
      <dsp:nvSpPr>
        <dsp:cNvPr id="0" name=""/>
        <dsp:cNvSpPr/>
      </dsp:nvSpPr>
      <dsp:spPr>
        <a:xfrm rot="17834576">
          <a:off x="5477681" y="1556452"/>
          <a:ext cx="84813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4813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38C7BF-42D6-4C9E-8AFC-BCC491231D46}">
      <dsp:nvSpPr>
        <dsp:cNvPr id="0" name=""/>
        <dsp:cNvSpPr/>
      </dsp:nvSpPr>
      <dsp:spPr>
        <a:xfrm rot="14507410">
          <a:off x="6760512" y="1554155"/>
          <a:ext cx="85047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047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B1862D-4D1E-462A-9593-73B8A3FD5ABC}">
      <dsp:nvSpPr>
        <dsp:cNvPr id="0" name=""/>
        <dsp:cNvSpPr/>
      </dsp:nvSpPr>
      <dsp:spPr>
        <a:xfrm>
          <a:off x="6095872" y="117942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D25597-FDBB-4AFE-AAFE-FD21BDA13AD7}">
      <dsp:nvSpPr>
        <dsp:cNvPr id="0" name=""/>
        <dsp:cNvSpPr/>
      </dsp:nvSpPr>
      <dsp:spPr>
        <a:xfrm>
          <a:off x="6193647" y="1011006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4</a:t>
          </a:r>
        </a:p>
      </dsp:txBody>
      <dsp:txXfrm>
        <a:off x="6193647" y="1011006"/>
        <a:ext cx="693316" cy="336836"/>
      </dsp:txXfrm>
    </dsp:sp>
    <dsp:sp modelId="{ABF5DCEC-491E-4796-80D6-8E2E246291B4}">
      <dsp:nvSpPr>
        <dsp:cNvPr id="0" name=""/>
        <dsp:cNvSpPr/>
      </dsp:nvSpPr>
      <dsp:spPr>
        <a:xfrm>
          <a:off x="6886964" y="117942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E0F03F-E8B0-4719-B797-F4FA61E56C26}">
      <dsp:nvSpPr>
        <dsp:cNvPr id="0" name=""/>
        <dsp:cNvSpPr/>
      </dsp:nvSpPr>
      <dsp:spPr>
        <a:xfrm rot="18631148">
          <a:off x="5602961" y="1743396"/>
          <a:ext cx="59757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9757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D0AEC2-9DD9-4064-93D3-5AEB32755FC5}">
      <dsp:nvSpPr>
        <dsp:cNvPr id="0" name=""/>
        <dsp:cNvSpPr/>
      </dsp:nvSpPr>
      <dsp:spPr>
        <a:xfrm rot="13692145">
          <a:off x="6884159" y="1741099"/>
          <a:ext cx="60318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0318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A34351-3A29-4276-AF30-3F30765E951F}">
      <dsp:nvSpPr>
        <dsp:cNvPr id="0" name=""/>
        <dsp:cNvSpPr/>
      </dsp:nvSpPr>
      <dsp:spPr>
        <a:xfrm>
          <a:off x="6095872" y="151626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7FB760-CBBB-4DAF-A604-68D9C78CF80A}">
      <dsp:nvSpPr>
        <dsp:cNvPr id="0" name=""/>
        <dsp:cNvSpPr/>
      </dsp:nvSpPr>
      <dsp:spPr>
        <a:xfrm>
          <a:off x="6193647" y="1347843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5</a:t>
          </a:r>
        </a:p>
      </dsp:txBody>
      <dsp:txXfrm>
        <a:off x="6193647" y="1347843"/>
        <a:ext cx="693316" cy="336836"/>
      </dsp:txXfrm>
    </dsp:sp>
    <dsp:sp modelId="{D342BEDC-F695-411A-B100-4F0AC3122525}">
      <dsp:nvSpPr>
        <dsp:cNvPr id="0" name=""/>
        <dsp:cNvSpPr/>
      </dsp:nvSpPr>
      <dsp:spPr>
        <a:xfrm>
          <a:off x="6886964" y="151626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7229D3-F77A-4C91-969A-9E51F20A98D0}">
      <dsp:nvSpPr>
        <dsp:cNvPr id="0" name=""/>
        <dsp:cNvSpPr/>
      </dsp:nvSpPr>
      <dsp:spPr>
        <a:xfrm rot="20298123">
          <a:off x="5692823" y="1930340"/>
          <a:ext cx="41785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17852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3EAF04-CA47-49DA-9041-1DC128D494E6}">
      <dsp:nvSpPr>
        <dsp:cNvPr id="0" name=""/>
        <dsp:cNvSpPr/>
      </dsp:nvSpPr>
      <dsp:spPr>
        <a:xfrm rot="12026862">
          <a:off x="6971222" y="1928043"/>
          <a:ext cx="42905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2905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52AA4A-58CE-4ADF-9D16-9851A274C22F}">
      <dsp:nvSpPr>
        <dsp:cNvPr id="0" name=""/>
        <dsp:cNvSpPr/>
      </dsp:nvSpPr>
      <dsp:spPr>
        <a:xfrm>
          <a:off x="6095872" y="185309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9A57B6-331C-4EC5-B637-A6FD3A59D7B8}">
      <dsp:nvSpPr>
        <dsp:cNvPr id="0" name=""/>
        <dsp:cNvSpPr/>
      </dsp:nvSpPr>
      <dsp:spPr>
        <a:xfrm>
          <a:off x="6193647" y="1684679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6</a:t>
          </a:r>
        </a:p>
      </dsp:txBody>
      <dsp:txXfrm>
        <a:off x="6193647" y="1684679"/>
        <a:ext cx="693316" cy="336836"/>
      </dsp:txXfrm>
    </dsp:sp>
    <dsp:sp modelId="{8F5C5145-0B78-4DA7-B6F7-29A8F939C8CF}">
      <dsp:nvSpPr>
        <dsp:cNvPr id="0" name=""/>
        <dsp:cNvSpPr/>
      </dsp:nvSpPr>
      <dsp:spPr>
        <a:xfrm>
          <a:off x="6886964" y="185309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09E6E3-EABF-4E24-8979-7ABC7A65EBFF}">
      <dsp:nvSpPr>
        <dsp:cNvPr id="0" name=""/>
        <dsp:cNvSpPr/>
      </dsp:nvSpPr>
      <dsp:spPr>
        <a:xfrm rot="1231084">
          <a:off x="5694477" y="2117284"/>
          <a:ext cx="41454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1454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367EA7-63B3-4680-9DAD-14BCCB347C40}">
      <dsp:nvSpPr>
        <dsp:cNvPr id="0" name=""/>
        <dsp:cNvSpPr/>
      </dsp:nvSpPr>
      <dsp:spPr>
        <a:xfrm rot="9573138">
          <a:off x="6971222" y="2114988"/>
          <a:ext cx="42905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2905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DB5CB5-C6CC-4F9C-92B6-04AF03BE0BE5}">
      <dsp:nvSpPr>
        <dsp:cNvPr id="0" name=""/>
        <dsp:cNvSpPr/>
      </dsp:nvSpPr>
      <dsp:spPr>
        <a:xfrm>
          <a:off x="6095872" y="218993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E3A2FA-A500-4243-8116-6782927EDEA2}">
      <dsp:nvSpPr>
        <dsp:cNvPr id="0" name=""/>
        <dsp:cNvSpPr/>
      </dsp:nvSpPr>
      <dsp:spPr>
        <a:xfrm>
          <a:off x="6193647" y="2021516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7</a:t>
          </a:r>
        </a:p>
      </dsp:txBody>
      <dsp:txXfrm>
        <a:off x="6193647" y="2021516"/>
        <a:ext cx="693316" cy="336836"/>
      </dsp:txXfrm>
    </dsp:sp>
    <dsp:sp modelId="{578413D8-B0F4-4D29-9081-95CCBD94B1AA}">
      <dsp:nvSpPr>
        <dsp:cNvPr id="0" name=""/>
        <dsp:cNvSpPr/>
      </dsp:nvSpPr>
      <dsp:spPr>
        <a:xfrm>
          <a:off x="6886964" y="2189934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644E33-A1BD-4BDC-BFD8-7B30376A7390}">
      <dsp:nvSpPr>
        <dsp:cNvPr id="0" name=""/>
        <dsp:cNvSpPr/>
      </dsp:nvSpPr>
      <dsp:spPr>
        <a:xfrm rot="2934109">
          <a:off x="5606438" y="2304229"/>
          <a:ext cx="59062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9062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937B02-3182-47EC-A62B-C07B24051143}">
      <dsp:nvSpPr>
        <dsp:cNvPr id="0" name=""/>
        <dsp:cNvSpPr/>
      </dsp:nvSpPr>
      <dsp:spPr>
        <a:xfrm rot="7907855">
          <a:off x="6884159" y="2301932"/>
          <a:ext cx="60318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03184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7ECC9-7112-4BFF-9D8E-B64B78ED766C}">
      <dsp:nvSpPr>
        <dsp:cNvPr id="0" name=""/>
        <dsp:cNvSpPr/>
      </dsp:nvSpPr>
      <dsp:spPr>
        <a:xfrm>
          <a:off x="6095872" y="252677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525D5-FDF5-4EAE-BB2E-5E59CEF8CD6E}">
      <dsp:nvSpPr>
        <dsp:cNvPr id="0" name=""/>
        <dsp:cNvSpPr/>
      </dsp:nvSpPr>
      <dsp:spPr>
        <a:xfrm>
          <a:off x="6193647" y="2358352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8</a:t>
          </a:r>
        </a:p>
      </dsp:txBody>
      <dsp:txXfrm>
        <a:off x="6193647" y="2358352"/>
        <a:ext cx="693316" cy="336836"/>
      </dsp:txXfrm>
    </dsp:sp>
    <dsp:sp modelId="{CDC88A83-A023-43E0-B45E-7B0520E12749}">
      <dsp:nvSpPr>
        <dsp:cNvPr id="0" name=""/>
        <dsp:cNvSpPr/>
      </dsp:nvSpPr>
      <dsp:spPr>
        <a:xfrm>
          <a:off x="6886964" y="2526770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66420D-4369-4E2F-BE3F-222FEE6DF76F}">
      <dsp:nvSpPr>
        <dsp:cNvPr id="0" name=""/>
        <dsp:cNvSpPr/>
      </dsp:nvSpPr>
      <dsp:spPr>
        <a:xfrm rot="3748213">
          <a:off x="5481760" y="2491173"/>
          <a:ext cx="8399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3997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B425F0-E83E-409A-A9A1-7CA958AEEBE9}">
      <dsp:nvSpPr>
        <dsp:cNvPr id="0" name=""/>
        <dsp:cNvSpPr/>
      </dsp:nvSpPr>
      <dsp:spPr>
        <a:xfrm rot="7092590">
          <a:off x="6760512" y="2488876"/>
          <a:ext cx="85047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047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DA6000-FA6B-486A-93D8-770BB5CC9C27}">
      <dsp:nvSpPr>
        <dsp:cNvPr id="0" name=""/>
        <dsp:cNvSpPr/>
      </dsp:nvSpPr>
      <dsp:spPr>
        <a:xfrm>
          <a:off x="6095872" y="286360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F9B266-EE48-466A-A1F3-11713587B77B}">
      <dsp:nvSpPr>
        <dsp:cNvPr id="0" name=""/>
        <dsp:cNvSpPr/>
      </dsp:nvSpPr>
      <dsp:spPr>
        <a:xfrm>
          <a:off x="6193647" y="2695188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9</a:t>
          </a:r>
        </a:p>
      </dsp:txBody>
      <dsp:txXfrm>
        <a:off x="6193647" y="2695188"/>
        <a:ext cx="693316" cy="336836"/>
      </dsp:txXfrm>
    </dsp:sp>
    <dsp:sp modelId="{AAE3EB14-5B30-4F53-9924-2D95FECB8E38}">
      <dsp:nvSpPr>
        <dsp:cNvPr id="0" name=""/>
        <dsp:cNvSpPr/>
      </dsp:nvSpPr>
      <dsp:spPr>
        <a:xfrm>
          <a:off x="6886964" y="2863607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6DE2A6-F638-48AC-AA9E-ACABC52E4822}">
      <dsp:nvSpPr>
        <dsp:cNvPr id="0" name=""/>
        <dsp:cNvSpPr/>
      </dsp:nvSpPr>
      <dsp:spPr>
        <a:xfrm rot="4176742">
          <a:off x="5344516" y="2678117"/>
          <a:ext cx="111446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1446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C36B70-62DF-4F4A-BC86-57402FB90531}">
      <dsp:nvSpPr>
        <dsp:cNvPr id="0" name=""/>
        <dsp:cNvSpPr/>
      </dsp:nvSpPr>
      <dsp:spPr>
        <a:xfrm rot="6657874">
          <a:off x="6623937" y="2675820"/>
          <a:ext cx="112362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2362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A95547-2427-438B-B62B-6A29F45EC643}">
      <dsp:nvSpPr>
        <dsp:cNvPr id="0" name=""/>
        <dsp:cNvSpPr/>
      </dsp:nvSpPr>
      <dsp:spPr>
        <a:xfrm>
          <a:off x="6095872" y="32004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21B78C-CE54-46B9-A98F-230C52077F47}">
      <dsp:nvSpPr>
        <dsp:cNvPr id="0" name=""/>
        <dsp:cNvSpPr/>
      </dsp:nvSpPr>
      <dsp:spPr>
        <a:xfrm>
          <a:off x="6193647" y="3032025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0</a:t>
          </a:r>
        </a:p>
      </dsp:txBody>
      <dsp:txXfrm>
        <a:off x="6193647" y="3032025"/>
        <a:ext cx="693316" cy="336836"/>
      </dsp:txXfrm>
    </dsp:sp>
    <dsp:sp modelId="{B16A5228-AF1A-4834-94C7-DD1C65333E0C}">
      <dsp:nvSpPr>
        <dsp:cNvPr id="0" name=""/>
        <dsp:cNvSpPr/>
      </dsp:nvSpPr>
      <dsp:spPr>
        <a:xfrm>
          <a:off x="6886964" y="3200443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92C1CF-4CEE-420C-AA40-D3220AA53129}">
      <dsp:nvSpPr>
        <dsp:cNvPr id="0" name=""/>
        <dsp:cNvSpPr/>
      </dsp:nvSpPr>
      <dsp:spPr>
        <a:xfrm rot="4433542">
          <a:off x="5202063" y="2865061"/>
          <a:ext cx="139937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99372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57B1A1-590F-4694-A04A-3E632C6A8A0A}">
      <dsp:nvSpPr>
        <dsp:cNvPr id="0" name=""/>
        <dsp:cNvSpPr/>
      </dsp:nvSpPr>
      <dsp:spPr>
        <a:xfrm rot="6395672">
          <a:off x="6481921" y="2862764"/>
          <a:ext cx="140765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07659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A98007-71A7-4B1B-BE16-14F078A3F7D6}">
      <dsp:nvSpPr>
        <dsp:cNvPr id="0" name=""/>
        <dsp:cNvSpPr/>
      </dsp:nvSpPr>
      <dsp:spPr>
        <a:xfrm>
          <a:off x="6095872" y="353727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C22902-AA22-4234-9886-0D502F5E57E6}">
      <dsp:nvSpPr>
        <dsp:cNvPr id="0" name=""/>
        <dsp:cNvSpPr/>
      </dsp:nvSpPr>
      <dsp:spPr>
        <a:xfrm>
          <a:off x="6193647" y="3368861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1</a:t>
          </a:r>
        </a:p>
      </dsp:txBody>
      <dsp:txXfrm>
        <a:off x="6193647" y="3368861"/>
        <a:ext cx="693316" cy="336836"/>
      </dsp:txXfrm>
    </dsp:sp>
    <dsp:sp modelId="{4833586B-7CB5-405F-9767-E051EC19CAB8}">
      <dsp:nvSpPr>
        <dsp:cNvPr id="0" name=""/>
        <dsp:cNvSpPr/>
      </dsp:nvSpPr>
      <dsp:spPr>
        <a:xfrm>
          <a:off x="6886964" y="3537279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213917-8FA8-40EB-B227-34AFF84BAB8C}">
      <dsp:nvSpPr>
        <dsp:cNvPr id="0" name=""/>
        <dsp:cNvSpPr/>
      </dsp:nvSpPr>
      <dsp:spPr>
        <a:xfrm rot="4602854">
          <a:off x="5057030" y="3052005"/>
          <a:ext cx="168943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8943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24D1DE-8916-4FCF-AC64-EF50F3F6E4D6}">
      <dsp:nvSpPr>
        <dsp:cNvPr id="0" name=""/>
        <dsp:cNvSpPr/>
      </dsp:nvSpPr>
      <dsp:spPr>
        <a:xfrm rot="6222168">
          <a:off x="6337192" y="3049709"/>
          <a:ext cx="16971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9711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271D8D-4224-4CDE-AEB7-45261D09B04D}">
      <dsp:nvSpPr>
        <dsp:cNvPr id="0" name=""/>
        <dsp:cNvSpPr/>
      </dsp:nvSpPr>
      <dsp:spPr>
        <a:xfrm>
          <a:off x="6095872" y="387411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70B1C4-D227-4720-99B1-5491213F2CB3}">
      <dsp:nvSpPr>
        <dsp:cNvPr id="0" name=""/>
        <dsp:cNvSpPr/>
      </dsp:nvSpPr>
      <dsp:spPr>
        <a:xfrm>
          <a:off x="6193647" y="3705698"/>
          <a:ext cx="693316" cy="33683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12</a:t>
          </a:r>
        </a:p>
      </dsp:txBody>
      <dsp:txXfrm>
        <a:off x="6193647" y="3705698"/>
        <a:ext cx="693316" cy="336836"/>
      </dsp:txXfrm>
    </dsp:sp>
    <dsp:sp modelId="{4959AF41-7C95-437F-955A-D5D156864135}">
      <dsp:nvSpPr>
        <dsp:cNvPr id="0" name=""/>
        <dsp:cNvSpPr/>
      </dsp:nvSpPr>
      <dsp:spPr>
        <a:xfrm>
          <a:off x="6886964" y="3874116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724C37-6962-4811-BC0B-103522458BE7}">
      <dsp:nvSpPr>
        <dsp:cNvPr id="0" name=""/>
        <dsp:cNvSpPr/>
      </dsp:nvSpPr>
      <dsp:spPr>
        <a:xfrm>
          <a:off x="7436451" y="1603264"/>
          <a:ext cx="836502" cy="836502"/>
        </a:xfrm>
        <a:prstGeom prst="ellipse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Factory Design Tools</a:t>
          </a:r>
        </a:p>
      </dsp:txBody>
      <dsp:txXfrm>
        <a:off x="7558954" y="1725767"/>
        <a:ext cx="591496" cy="591496"/>
      </dsp:txXfrm>
    </dsp:sp>
    <dsp:sp modelId="{5FCC07AA-2999-42DC-9817-A4E6EA41374C}">
      <dsp:nvSpPr>
        <dsp:cNvPr id="0" name=""/>
        <dsp:cNvSpPr/>
      </dsp:nvSpPr>
      <dsp:spPr>
        <a:xfrm rot="1483451">
          <a:off x="8302356" y="2136953"/>
          <a:ext cx="44259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42595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5E1E42-07ED-40F8-8088-6E828BAE310F}">
      <dsp:nvSpPr>
        <dsp:cNvPr id="0" name=""/>
        <dsp:cNvSpPr/>
      </dsp:nvSpPr>
      <dsp:spPr>
        <a:xfrm>
          <a:off x="8724665" y="2229511"/>
          <a:ext cx="97775" cy="0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4E799-F33F-44D6-A119-FEE201B50EFE}">
      <dsp:nvSpPr>
        <dsp:cNvPr id="0" name=""/>
        <dsp:cNvSpPr/>
      </dsp:nvSpPr>
      <dsp:spPr>
        <a:xfrm>
          <a:off x="8822440" y="2021516"/>
          <a:ext cx="693316" cy="41599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8822440" y="2021516"/>
        <a:ext cx="693316" cy="4159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ubStepProcess">
  <dgm:title val=""/>
  <dgm:desc val=""/>
  <dgm:catLst>
    <dgm:cat type="process" pri="122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61" srcId="1" destId="11" srcOrd="0" destOrd="0"/>
        <dgm:cxn modelId="62" srcId="1" destId="12" srcOrd="1" destOrd="0"/>
        <dgm:cxn modelId="7" srcId="0" destId="2" srcOrd="0" destOrd="0"/>
        <dgm:cxn modelId="8" srcId="0" destId="3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8" srcId="0" destId="1" srcOrd="0" destOrd="0"/>
        <dgm:cxn modelId="81" srcId="1" destId="11" srcOrd="0" destOrd="0"/>
        <dgm:cxn modelId="82" srcId="1" destId="12" srcOrd="1" destOrd="0"/>
        <dgm:cxn modelId="9" srcId="0" destId="2" srcOrd="0" destOrd="0"/>
        <dgm:cxn modelId="10" srcId="0" destId="3" srcOrd="0" destOrd="0"/>
        <dgm:cxn modelId="11" srcId="0" destId="4" srcOrd="0" destOrd="0"/>
      </dgm:cxnLst>
      <dgm:bg/>
      <dgm:whole/>
    </dgm:dataModel>
  </dgm:clrData>
  <dgm:layoutNode name="Name0">
    <dgm:varLst>
      <dgm:chMax val="7"/>
      <dgm:dir/>
      <dgm:animOne val="branch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Tx1" refType="w"/>
      <dgm:constr type="w" for="ch" forName="chLin1" refType="w" refFor="ch" refForName="parTx1" fact="1.38"/>
      <dgm:constr type="h" for="ch" forName="chLin1" refType="h"/>
      <dgm:constr type="w" for="ch" forName="spPre1" refType="w" fact="0.27"/>
      <dgm:constr type="w" for="ch" forName="spPost1" refType="w" fact="0.27"/>
      <dgm:constr type="h" for="ch" forName="spPre1" refType="h"/>
      <dgm:constr type="h" for="ch" forName="spPost1" refType="h"/>
      <dgm:constr type="primFontSz" for="ch" forName="parTx1" val="65"/>
      <dgm:constr type="primFontSz" for="des" forName="desTx1" refType="primFontSz" refFor="ch" refForName="parTx1" fact="0.78"/>
      <dgm:constr type="primFontSz" for="des" forName="desTx1" op="equ"/>
      <dgm:constr type="w" for="ch" forName="parTx2" refType="w"/>
      <dgm:constr type="w" for="ch" forName="chLin2" refType="w" refFor="ch" refForName="parTx2" fact="1.38"/>
      <dgm:constr type="h" for="ch" forName="chLin2" refType="h"/>
      <dgm:constr type="w" for="ch" forName="spPre2" refType="w" fact="0.54"/>
      <dgm:constr type="w" for="ch" forName="spPost2" refType="w" fact="0.54"/>
      <dgm:constr type="h" for="ch" forName="spPre2" refType="h"/>
      <dgm:constr type="h" for="ch" forName="spPost2" refType="h"/>
      <dgm:constr type="primFontSz" for="ch" forName="parTx2" refType="primFontSz" refFor="ch" refForName="parTx1" op="equ"/>
      <dgm:constr type="primFontSz" for="des" forName="desTx2" refType="primFontSz" refFor="des" refForName="desTx1" op="equ"/>
      <dgm:constr type="w" for="ch" forName="parTx3" refType="w"/>
      <dgm:constr type="w" for="ch" forName="chLin3" refType="w" refFor="ch" refForName="parTx3" fact="1.38"/>
      <dgm:constr type="h" for="ch" forName="chLin3" refType="h"/>
      <dgm:constr type="w" for="ch" forName="spPre3" refType="w" fact="0.54"/>
      <dgm:constr type="w" for="ch" forName="spPost3" refType="w" fact="0.54"/>
      <dgm:constr type="h" for="ch" forName="spPre3" refType="h"/>
      <dgm:constr type="h" for="ch" forName="spPost3" refType="h"/>
      <dgm:constr type="primFontSz" for="ch" forName="parTx3" refType="primFontSz" refFor="ch" refForName="parTx1" op="equ"/>
      <dgm:constr type="primFontSz" for="des" forName="desTx3" refType="primFontSz" refFor="des" refForName="desTx1" op="equ"/>
      <dgm:constr type="w" for="ch" forName="parTx4" refType="w"/>
      <dgm:constr type="w" for="ch" forName="chLin4" refType="w" refFor="ch" refForName="parTx4" fact="1.38"/>
      <dgm:constr type="h" for="ch" forName="chLin4" refType="h"/>
      <dgm:constr type="w" for="ch" forName="spPre4" refType="w" fact="0.54"/>
      <dgm:constr type="w" for="ch" forName="spPost4" refType="w" fact="0.54"/>
      <dgm:constr type="h" for="ch" forName="spPre4" refType="h"/>
      <dgm:constr type="h" for="ch" forName="spPost4" refType="h"/>
      <dgm:constr type="primFontSz" for="ch" forName="parTx4" refType="primFontSz" refFor="ch" refForName="parTx1" op="equ"/>
      <dgm:constr type="primFontSz" for="des" forName="desTx4" refType="primFontSz" refFor="des" refForName="desTx1" op="equ"/>
      <dgm:constr type="w" for="ch" forName="parTx5" refType="w"/>
      <dgm:constr type="w" for="ch" forName="chLin5" refType="w" refFor="ch" refForName="parTx5" fact="1.38"/>
      <dgm:constr type="h" for="ch" forName="chLin5" refType="h"/>
      <dgm:constr type="w" for="ch" forName="spPre5" refType="w" fact="0.54"/>
      <dgm:constr type="w" for="ch" forName="spPost5" refType="w" fact="0.54"/>
      <dgm:constr type="h" for="ch" forName="spPre5" refType="h"/>
      <dgm:constr type="h" for="ch" forName="spPost5" refType="h"/>
      <dgm:constr type="primFontSz" for="ch" forName="parTx5" refType="primFontSz" refFor="ch" refForName="parTx1" op="equ"/>
      <dgm:constr type="primFontSz" for="des" forName="desTx5" refType="primFontSz" refFor="des" refForName="desTx1" op="equ"/>
      <dgm:constr type="w" for="ch" forName="parTx6" refType="w"/>
      <dgm:constr type="w" for="ch" forName="chLin6" refType="w" refFor="ch" refForName="parTx6" fact="1.38"/>
      <dgm:constr type="h" for="ch" forName="chLin6" refType="h"/>
      <dgm:constr type="w" for="ch" forName="spPre6" refType="w" fact="0.54"/>
      <dgm:constr type="w" for="ch" forName="spPost6" refType="w" fact="0.54"/>
      <dgm:constr type="h" for="ch" forName="spPre6" refType="h"/>
      <dgm:constr type="h" for="ch" forName="spPost6" refType="h"/>
      <dgm:constr type="primFontSz" for="ch" forName="parTx6" refType="primFontSz" refFor="ch" refForName="parTx1" op="equ"/>
      <dgm:constr type="primFontSz" for="des" forName="desTx6" refType="primFontSz" refFor="des" refForName="desTx1" op="equ"/>
      <dgm:constr type="w" for="ch" forName="parTx7" refType="w"/>
      <dgm:constr type="w" for="ch" forName="chLin7" refType="w" refFor="ch" refForName="parTx7" fact="1.38"/>
      <dgm:constr type="h" for="ch" forName="chLin7" refType="h"/>
      <dgm:constr type="w" for="ch" forName="spPre7" refType="w" fact="0.54"/>
      <dgm:constr type="w" for="ch" forName="spPost7" refType="w" fact="0.54"/>
      <dgm:constr type="h" for="ch" forName="spPre7" refType="h"/>
      <dgm:constr type="h" for="ch" forName="spPost7" refType="h"/>
      <dgm:constr type="primFontSz" for="ch" forName="parTx7" refType="primFontSz" refFor="ch" refForName="parTx1" op="equ"/>
      <dgm:constr type="primFontSz" for="des" forName="desTx7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parTx1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">
            <dgm:if name="Name8" axis="ch" ptType="node" func="cnt" op="gte" val="1">
              <dgm:layoutNode name="spPre1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1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1" refType="w" fact="0.77"/>
                  <dgm:constr type="w" for="ch" forName="top1" refType="w" refFor="ch" refForName="txAndLines1" fact="0.78"/>
                </dgm:constrLst>
                <dgm:forEach name="Name9" axis="ch">
                  <dgm:forEach name="Name10" axis="self" ptType="parTrans">
                    <dgm:layoutNode name="Name11" styleLbl="parChTrans1D1">
                      <dgm:choose name="Name12">
                        <dgm:if name="Name1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1"/>
                          </dgm:alg>
                        </dgm:if>
                        <dgm:else name="Name1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1"/>
                            <dgm:param type="dstNode" val="anchor1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" axis="self" ptType="node">
                    <dgm:choose name="Name16">
                      <dgm:if name="Name17" axis="par ch" ptType="node node" func="cnt" op="equ" val="1">
                        <dgm:layoutNode name="top1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"/>
                    </dgm:choose>
                    <dgm:layoutNode name="txAndLines1">
                      <dgm:choose name="Name19">
                        <dgm:if name="Name20" func="var" arg="dir" op="equ" val="norm">
                          <dgm:alg type="lin"/>
                        </dgm:if>
                        <dgm:else name="Name2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22">
                        <dgm:if name="Name23" axis="root ch" ptType="all node" func="cnt" op="gte" val="2">
                          <dgm:constrLst>
                            <dgm:constr type="w" for="ch" forName="anchor1" refType="w"/>
                            <dgm:constr type="w" for="ch" forName="backup1" refType="w" fact="-1"/>
                            <dgm:constr type="w" for="ch" forName="preLine1" refType="w" fact="0.11"/>
                            <dgm:constr type="w" for="ch" forName="desTx1" refType="w" fact="0.78"/>
                            <dgm:constr type="w" for="ch" forName="postLine1" refType="w" fact="0.11"/>
                          </dgm:constrLst>
                        </dgm:if>
                        <dgm:else name="Name24">
                          <dgm:constrLst>
                            <dgm:constr type="w" for="ch" forName="anchor1" refType="w" fact="0.89"/>
                            <dgm:constr type="w" for="ch" forName="backup1" refType="w" fact="-0.89"/>
                            <dgm:constr type="w" for="ch" forName="preLine1" refType="w" fact="0.11"/>
                            <dgm:constr type="w" for="ch" forName="desTx1" refType="w" fact="0.78"/>
                          </dgm:constrLst>
                        </dgm:else>
                      </dgm:choose>
                      <dgm:layoutNode name="anchor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1" styleLbl="parChTrans1D1" moveWith="desTx1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1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25">
                        <dgm:if name="Name26" axis="root ch" ptType="all node" func="cnt" op="gte" val="2">
                          <dgm:layoutNode name="postLine1" styleLbl="parChTrans1D1" moveWith="desTx1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27"/>
                      </dgm:choose>
                    </dgm:layoutNode>
                  </dgm:forEach>
                  <dgm:choose name="Name28">
                    <dgm:if name="Name29" axis="root ch" ptType="all node" func="cnt" op="gte" val="2">
                      <dgm:forEach name="Name30" axis="self" ptType="parTrans">
                        <dgm:layoutNode name="Name31" styleLbl="parChTrans1D1">
                          <dgm:choose name="Name32">
                            <dgm:if name="Name3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2"/>
                                <dgm:param type="endSty" val="noArr"/>
                                <dgm:param type="dstNode" val="anchor1"/>
                              </dgm:alg>
                            </dgm:if>
                            <dgm:else name="Name3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2"/>
                                <dgm:param type="dstNode" val="anchor1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35"/>
                  </dgm:choose>
                </dgm:forEach>
              </dgm:layoutNode>
              <dgm:choose name="Name36">
                <dgm:if name="Name37" axis="root ch" ptType="all node" func="cnt" op="gte" val="2">
                  <dgm:layoutNode name="spPost1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38"/>
              </dgm:choose>
            </dgm:if>
            <dgm:else name="Name39"/>
          </dgm:choose>
        </dgm:if>
        <dgm:if name="Name40" axis="self" ptType="node" func="pos" op="equ" val="2">
          <dgm:layoutNode name="parTx2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41">
            <dgm:if name="Name42" axis="ch" ptType="node" func="cnt" op="gte" val="1">
              <dgm:layoutNode name="spPre2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2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2" refType="w" fact="0.77"/>
                  <dgm:constr type="w" for="ch" forName="top2" refType="w" refFor="ch" refForName="txAndLines2" fact="0.78"/>
                </dgm:constrLst>
                <dgm:forEach name="Name43" axis="ch">
                  <dgm:forEach name="Name44" axis="self" ptType="parTrans">
                    <dgm:layoutNode name="Name45" styleLbl="parChTrans1D1">
                      <dgm:choose name="Name46">
                        <dgm:if name="Name4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2"/>
                          </dgm:alg>
                        </dgm:if>
                        <dgm:else name="Name4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2"/>
                            <dgm:param type="dstNode" val="anchor2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49" axis="self" ptType="node">
                    <dgm:choose name="Name50">
                      <dgm:if name="Name51" axis="par ch" ptType="node node" func="cnt" op="equ" val="1">
                        <dgm:layoutNode name="top2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52"/>
                    </dgm:choose>
                    <dgm:layoutNode name="txAndLines2">
                      <dgm:choose name="Name53">
                        <dgm:if name="Name54" func="var" arg="dir" op="equ" val="norm">
                          <dgm:alg type="lin"/>
                        </dgm:if>
                        <dgm:else name="Name5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56">
                        <dgm:if name="Name57" axis="root ch" ptType="all node" func="cnt" op="gte" val="3">
                          <dgm:constrLst>
                            <dgm:constr type="w" for="ch" forName="anchor2" refType="w"/>
                            <dgm:constr type="w" for="ch" forName="backup2" refType="w" fact="-1"/>
                            <dgm:constr type="w" for="ch" forName="preLine2" refType="w" fact="0.11"/>
                            <dgm:constr type="w" for="ch" forName="desTx2" refType="w" fact="0.78"/>
                            <dgm:constr type="w" for="ch" forName="postLine2" refType="w" fact="0.11"/>
                          </dgm:constrLst>
                        </dgm:if>
                        <dgm:else name="Name58">
                          <dgm:constrLst>
                            <dgm:constr type="w" for="ch" forName="anchor2" refType="w" fact="0.89"/>
                            <dgm:constr type="w" for="ch" forName="backup2" refType="w" fact="-0.89"/>
                            <dgm:constr type="w" for="ch" forName="preLine2" refType="w" fact="0.11"/>
                            <dgm:constr type="w" for="ch" forName="desTx2" refType="w" fact="0.78"/>
                          </dgm:constrLst>
                        </dgm:else>
                      </dgm:choose>
                      <dgm:layoutNode name="anchor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2" styleLbl="parChTrans1D1" moveWith="desTx2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2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59">
                        <dgm:if name="Name60" axis="root ch" ptType="all node" func="cnt" op="gte" val="3">
                          <dgm:layoutNode name="postLine2" styleLbl="parChTrans1D1" moveWith="desTx2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61"/>
                      </dgm:choose>
                    </dgm:layoutNode>
                  </dgm:forEach>
                  <dgm:choose name="Name62">
                    <dgm:if name="Name63" axis="root ch" ptType="all node" func="cnt" op="gte" val="3">
                      <dgm:forEach name="Name64" axis="self" ptType="parTrans">
                        <dgm:layoutNode name="Name65" styleLbl="parChTrans1D1">
                          <dgm:choose name="Name66">
                            <dgm:if name="Name67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3"/>
                                <dgm:param type="endSty" val="noArr"/>
                                <dgm:param type="dstNode" val="anchor2"/>
                              </dgm:alg>
                            </dgm:if>
                            <dgm:else name="Name68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3"/>
                                <dgm:param type="dstNode" val="anchor2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69"/>
                  </dgm:choose>
                </dgm:forEach>
              </dgm:layoutNode>
              <dgm:choose name="Name70">
                <dgm:if name="Name71" axis="root ch" ptType="all node" func="cnt" op="gte" val="3">
                  <dgm:layoutNode name="spPost2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72"/>
              </dgm:choose>
            </dgm:if>
            <dgm:else name="Name73"/>
          </dgm:choose>
        </dgm:if>
        <dgm:if name="Name74" axis="self" ptType="node" func="pos" op="equ" val="3">
          <dgm:layoutNode name="parTx3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5">
            <dgm:if name="Name76" axis="ch" ptType="node" func="cnt" op="gte" val="1">
              <dgm:layoutNode name="spPre3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3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3" refType="w" fact="0.77"/>
                  <dgm:constr type="w" for="ch" forName="top3" refType="w" refFor="ch" refForName="txAndLines3" fact="0.78"/>
                </dgm:constrLst>
                <dgm:forEach name="Name77" axis="ch">
                  <dgm:forEach name="Name78" axis="self" ptType="parTrans">
                    <dgm:layoutNode name="Name79" styleLbl="parChTrans1D1">
                      <dgm:choose name="Name80">
                        <dgm:if name="Name81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3"/>
                          </dgm:alg>
                        </dgm:if>
                        <dgm:else name="Name82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3"/>
                            <dgm:param type="dstNode" val="anchor3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83" axis="self" ptType="node">
                    <dgm:choose name="Name84">
                      <dgm:if name="Name85" axis="par ch" ptType="node node" func="cnt" op="equ" val="1">
                        <dgm:layoutNode name="top3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86"/>
                    </dgm:choose>
                    <dgm:layoutNode name="txAndLines3">
                      <dgm:choose name="Name87">
                        <dgm:if name="Name88" func="var" arg="dir" op="equ" val="norm">
                          <dgm:alg type="lin"/>
                        </dgm:if>
                        <dgm:else name="Name89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90">
                        <dgm:if name="Name91" axis="root ch" ptType="all node" func="cnt" op="gte" val="4">
                          <dgm:constrLst>
                            <dgm:constr type="w" for="ch" forName="anchor3" refType="w"/>
                            <dgm:constr type="w" for="ch" forName="backup3" refType="w" fact="-1"/>
                            <dgm:constr type="w" for="ch" forName="preLine3" refType="w" fact="0.11"/>
                            <dgm:constr type="w" for="ch" forName="desTx3" refType="w" fact="0.78"/>
                            <dgm:constr type="w" for="ch" forName="postLine3" refType="w" fact="0.11"/>
                          </dgm:constrLst>
                        </dgm:if>
                        <dgm:else name="Name92">
                          <dgm:constrLst>
                            <dgm:constr type="w" for="ch" forName="anchor3" refType="w" fact="0.89"/>
                            <dgm:constr type="w" for="ch" forName="backup3" refType="w" fact="-0.89"/>
                            <dgm:constr type="w" for="ch" forName="preLine3" refType="w" fact="0.11"/>
                            <dgm:constr type="w" for="ch" forName="desTx3" refType="w" fact="0.78"/>
                          </dgm:constrLst>
                        </dgm:else>
                      </dgm:choose>
                      <dgm:layoutNode name="anchor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3" styleLbl="parChTrans1D1" moveWith="desTx3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3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93">
                        <dgm:if name="Name94" axis="root ch" ptType="all node" func="cnt" op="gte" val="4">
                          <dgm:layoutNode name="postLine3" styleLbl="parChTrans1D1" moveWith="desTx3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95"/>
                      </dgm:choose>
                    </dgm:layoutNode>
                  </dgm:forEach>
                  <dgm:choose name="Name96">
                    <dgm:if name="Name97" axis="root ch" ptType="all node" func="cnt" op="gte" val="4">
                      <dgm:forEach name="Name98" axis="self" ptType="parTrans">
                        <dgm:layoutNode name="Name99" styleLbl="parChTrans1D1">
                          <dgm:choose name="Name100">
                            <dgm:if name="Name101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4"/>
                                <dgm:param type="endSty" val="noArr"/>
                                <dgm:param type="dstNode" val="anchor3"/>
                              </dgm:alg>
                            </dgm:if>
                            <dgm:else name="Name102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4"/>
                                <dgm:param type="dstNode" val="anchor3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03"/>
                  </dgm:choose>
                </dgm:forEach>
              </dgm:layoutNode>
              <dgm:choose name="Name104">
                <dgm:if name="Name105" axis="root ch" ptType="all node" func="cnt" op="gte" val="4">
                  <dgm:layoutNode name="spPost3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06"/>
              </dgm:choose>
            </dgm:if>
            <dgm:else name="Name107"/>
          </dgm:choose>
        </dgm:if>
        <dgm:if name="Name108" axis="self" ptType="node" func="pos" op="equ" val="4">
          <dgm:layoutNode name="parTx4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09">
            <dgm:if name="Name110" axis="ch" ptType="node" func="cnt" op="gte" val="1">
              <dgm:layoutNode name="spPre4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4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4" refType="w" fact="0.77"/>
                  <dgm:constr type="w" for="ch" forName="top4" refType="w" refFor="ch" refForName="txAndLines4" fact="0.78"/>
                </dgm:constrLst>
                <dgm:forEach name="Name111" axis="ch">
                  <dgm:forEach name="Name112" axis="self" ptType="parTrans">
                    <dgm:layoutNode name="Name113" styleLbl="parChTrans1D1">
                      <dgm:choose name="Name114">
                        <dgm:if name="Name115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4"/>
                          </dgm:alg>
                        </dgm:if>
                        <dgm:else name="Name116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4"/>
                            <dgm:param type="dstNode" val="anchor4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17" axis="self" ptType="node">
                    <dgm:choose name="Name118">
                      <dgm:if name="Name119" axis="par ch" ptType="node node" func="cnt" op="equ" val="1">
                        <dgm:layoutNode name="top4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20"/>
                    </dgm:choose>
                    <dgm:layoutNode name="txAndLines4">
                      <dgm:choose name="Name121">
                        <dgm:if name="Name122" func="var" arg="dir" op="equ" val="norm">
                          <dgm:alg type="lin"/>
                        </dgm:if>
                        <dgm:else name="Name123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24">
                        <dgm:if name="Name125" axis="root ch" ptType="all node" func="cnt" op="gte" val="5">
                          <dgm:constrLst>
                            <dgm:constr type="w" for="ch" forName="anchor4" refType="w"/>
                            <dgm:constr type="w" for="ch" forName="backup4" refType="w" fact="-1"/>
                            <dgm:constr type="w" for="ch" forName="preLine4" refType="w" fact="0.11"/>
                            <dgm:constr type="w" for="ch" forName="desTx4" refType="w" fact="0.78"/>
                            <dgm:constr type="w" for="ch" forName="postLine4" refType="w" fact="0.11"/>
                          </dgm:constrLst>
                        </dgm:if>
                        <dgm:else name="Name126">
                          <dgm:constrLst>
                            <dgm:constr type="w" for="ch" forName="anchor4" refType="w" fact="0.89"/>
                            <dgm:constr type="w" for="ch" forName="backup4" refType="w" fact="-0.89"/>
                            <dgm:constr type="w" for="ch" forName="preLine4" refType="w" fact="0.11"/>
                            <dgm:constr type="w" for="ch" forName="desTx4" refType="w" fact="0.78"/>
                          </dgm:constrLst>
                        </dgm:else>
                      </dgm:choose>
                      <dgm:layoutNode name="anchor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4" styleLbl="parChTrans1D1" moveWith="desTx4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4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27">
                        <dgm:if name="Name128" axis="root ch" ptType="all node" func="cnt" op="gte" val="5">
                          <dgm:layoutNode name="postLine4" styleLbl="parChTrans1D1" moveWith="desTx4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29"/>
                      </dgm:choose>
                    </dgm:layoutNode>
                  </dgm:forEach>
                  <dgm:choose name="Name130">
                    <dgm:if name="Name131" axis="root ch" ptType="all node" func="cnt" op="gte" val="5">
                      <dgm:forEach name="Name132" axis="self" ptType="parTrans">
                        <dgm:layoutNode name="Name133" styleLbl="parChTrans1D1">
                          <dgm:choose name="Name134">
                            <dgm:if name="Name135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5"/>
                                <dgm:param type="endSty" val="noArr"/>
                                <dgm:param type="dstNode" val="anchor4"/>
                              </dgm:alg>
                            </dgm:if>
                            <dgm:else name="Name136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5"/>
                                <dgm:param type="dstNode" val="anchor4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37"/>
                  </dgm:choose>
                </dgm:forEach>
              </dgm:layoutNode>
              <dgm:choose name="Name138">
                <dgm:if name="Name139" axis="root ch" ptType="all node" func="cnt" op="gte" val="5">
                  <dgm:layoutNode name="spPost4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40"/>
              </dgm:choose>
            </dgm:if>
            <dgm:else name="Name141"/>
          </dgm:choose>
        </dgm:if>
        <dgm:if name="Name142" axis="self" ptType="node" func="pos" op="equ" val="5">
          <dgm:layoutNode name="parTx5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43">
            <dgm:if name="Name144" axis="ch" ptType="node" func="cnt" op="gte" val="1">
              <dgm:layoutNode name="spPre5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5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5" refType="w" fact="0.77"/>
                  <dgm:constr type="w" for="ch" forName="top5" refType="w" refFor="ch" refForName="txAndLines5" fact="0.78"/>
                </dgm:constrLst>
                <dgm:forEach name="Name145" axis="ch">
                  <dgm:forEach name="Name146" axis="self" ptType="parTrans">
                    <dgm:layoutNode name="Name147" styleLbl="parChTrans1D1">
                      <dgm:choose name="Name148">
                        <dgm:if name="Name149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5"/>
                          </dgm:alg>
                        </dgm:if>
                        <dgm:else name="Name150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5"/>
                            <dgm:param type="dstNode" val="anchor5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1" axis="self" ptType="node">
                    <dgm:choose name="Name152">
                      <dgm:if name="Name153" axis="par ch" ptType="node node" func="cnt" op="equ" val="1">
                        <dgm:layoutNode name="top5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54"/>
                    </dgm:choose>
                    <dgm:layoutNode name="txAndLines5">
                      <dgm:choose name="Name155">
                        <dgm:if name="Name156" func="var" arg="dir" op="equ" val="norm">
                          <dgm:alg type="lin"/>
                        </dgm:if>
                        <dgm:else name="Name157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58">
                        <dgm:if name="Name159" axis="root ch" ptType="all node" func="cnt" op="gte" val="6">
                          <dgm:constrLst>
                            <dgm:constr type="w" for="ch" forName="anchor5" refType="w"/>
                            <dgm:constr type="w" for="ch" forName="backup5" refType="w" fact="-1"/>
                            <dgm:constr type="w" for="ch" forName="preLine5" refType="w" fact="0.11"/>
                            <dgm:constr type="w" for="ch" forName="desTx5" refType="w" fact="0.78"/>
                            <dgm:constr type="w" for="ch" forName="postLine5" refType="w" fact="0.11"/>
                          </dgm:constrLst>
                        </dgm:if>
                        <dgm:else name="Name160">
                          <dgm:constrLst>
                            <dgm:constr type="w" for="ch" forName="anchor5" refType="w" fact="0.89"/>
                            <dgm:constr type="w" for="ch" forName="backup5" refType="w" fact="-0.89"/>
                            <dgm:constr type="w" for="ch" forName="preLine5" refType="w" fact="0.11"/>
                            <dgm:constr type="w" for="ch" forName="desTx5" refType="w" fact="0.78"/>
                          </dgm:constrLst>
                        </dgm:else>
                      </dgm:choose>
                      <dgm:layoutNode name="anchor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5" styleLbl="parChTrans1D1" moveWith="desTx5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5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61">
                        <dgm:if name="Name162" axis="root ch" ptType="all node" func="cnt" op="gte" val="6">
                          <dgm:layoutNode name="postLine5" styleLbl="parChTrans1D1" moveWith="desTx5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63"/>
                      </dgm:choose>
                    </dgm:layoutNode>
                  </dgm:forEach>
                  <dgm:choose name="Name164">
                    <dgm:if name="Name165" axis="root ch" ptType="all node" func="cnt" op="gte" val="6">
                      <dgm:forEach name="Name166" axis="self" ptType="parTrans">
                        <dgm:layoutNode name="Name167" styleLbl="parChTrans1D1">
                          <dgm:choose name="Name168">
                            <dgm:if name="Name169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6"/>
                                <dgm:param type="endSty" val="noArr"/>
                                <dgm:param type="dstNode" val="anchor5"/>
                              </dgm:alg>
                            </dgm:if>
                            <dgm:else name="Name170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6"/>
                                <dgm:param type="dstNode" val="anchor5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71"/>
                  </dgm:choose>
                </dgm:forEach>
              </dgm:layoutNode>
              <dgm:choose name="Name172">
                <dgm:if name="Name173" axis="root ch" ptType="all node" func="cnt" op="gte" val="6">
                  <dgm:layoutNode name="spPost5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74"/>
              </dgm:choose>
            </dgm:if>
            <dgm:else name="Name175"/>
          </dgm:choose>
        </dgm:if>
        <dgm:if name="Name176" axis="self" ptType="node" func="pos" op="equ" val="6">
          <dgm:layoutNode name="parTx6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77">
            <dgm:if name="Name178" axis="ch" ptType="node" func="cnt" op="gte" val="1">
              <dgm:layoutNode name="spPre6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6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6" refType="w" fact="0.77"/>
                  <dgm:constr type="w" for="ch" forName="top6" refType="w" refFor="ch" refForName="txAndLines6" fact="0.78"/>
                </dgm:constrLst>
                <dgm:forEach name="Name179" axis="ch">
                  <dgm:forEach name="Name180" axis="self" ptType="parTrans">
                    <dgm:layoutNode name="Name181" styleLbl="parChTrans1D1">
                      <dgm:choose name="Name182">
                        <dgm:if name="Name18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6"/>
                          </dgm:alg>
                        </dgm:if>
                        <dgm:else name="Name18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6"/>
                            <dgm:param type="dstNode" val="anchor6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85" axis="self" ptType="node">
                    <dgm:choose name="Name186">
                      <dgm:if name="Name187" axis="par ch" ptType="node node" func="cnt" op="equ" val="1">
                        <dgm:layoutNode name="top6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8"/>
                    </dgm:choose>
                    <dgm:layoutNode name="txAndLines6">
                      <dgm:choose name="Name189">
                        <dgm:if name="Name190" func="var" arg="dir" op="equ" val="norm">
                          <dgm:alg type="lin"/>
                        </dgm:if>
                        <dgm:else name="Name19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92">
                        <dgm:if name="Name193" axis="root ch" ptType="all node" func="cnt" op="gte" val="7">
                          <dgm:constrLst>
                            <dgm:constr type="w" for="ch" forName="anchor6" refType="w"/>
                            <dgm:constr type="w" for="ch" forName="backup6" refType="w" fact="-1"/>
                            <dgm:constr type="w" for="ch" forName="preLine6" refType="w" fact="0.11"/>
                            <dgm:constr type="w" for="ch" forName="desTx6" refType="w" fact="0.78"/>
                            <dgm:constr type="w" for="ch" forName="postLine6" refType="w" fact="0.11"/>
                          </dgm:constrLst>
                        </dgm:if>
                        <dgm:else name="Name194">
                          <dgm:constrLst>
                            <dgm:constr type="w" for="ch" forName="anchor6" refType="w" fact="0.89"/>
                            <dgm:constr type="w" for="ch" forName="backup6" refType="w" fact="-0.89"/>
                            <dgm:constr type="w" for="ch" forName="preLine6" refType="w" fact="0.11"/>
                            <dgm:constr type="w" for="ch" forName="desTx6" refType="w" fact="0.78"/>
                          </dgm:constrLst>
                        </dgm:else>
                      </dgm:choose>
                      <dgm:layoutNode name="anchor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6" styleLbl="parChTrans1D1" moveWith="desTx6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6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95">
                        <dgm:if name="Name196" axis="root ch" ptType="all node" func="cnt" op="gte" val="7">
                          <dgm:layoutNode name="postLine6" styleLbl="parChTrans1D1" moveWith="desTx6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97"/>
                      </dgm:choose>
                    </dgm:layoutNode>
                  </dgm:forEach>
                  <dgm:choose name="Name198">
                    <dgm:if name="Name199" axis="root ch" ptType="all node" func="cnt" op="gte" val="7">
                      <dgm:forEach name="Name200" axis="self" ptType="parTrans">
                        <dgm:layoutNode name="Name201" styleLbl="parChTrans1D1">
                          <dgm:choose name="Name202">
                            <dgm:if name="Name20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7"/>
                                <dgm:param type="endSty" val="noArr"/>
                                <dgm:param type="dstNode" val="anchor6"/>
                              </dgm:alg>
                            </dgm:if>
                            <dgm:else name="Name20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7"/>
                                <dgm:param type="dstNode" val="anchor6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205"/>
                  </dgm:choose>
                </dgm:forEach>
              </dgm:layoutNode>
              <dgm:choose name="Name206">
                <dgm:if name="Name207" axis="root ch" ptType="all node" func="cnt" op="gte" val="7">
                  <dgm:layoutNode name="spPost6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208"/>
              </dgm:choose>
            </dgm:if>
            <dgm:else name="Name209"/>
          </dgm:choose>
        </dgm:if>
        <dgm:if name="Name210" axis="self" ptType="node" func="pos" op="equ" val="7">
          <dgm:layoutNode name="parTx7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211">
            <dgm:if name="Name212" axis="ch" ptType="node" func="cnt" op="gte" val="1">
              <dgm:layoutNode name="spPre7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7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7" refType="w" fact="0.77"/>
                  <dgm:constr type="w" for="ch" forName="top7" refType="w" refFor="ch" refForName="txAndLines7" fact="0.78"/>
                </dgm:constrLst>
                <dgm:forEach name="Name213" axis="ch">
                  <dgm:forEach name="Name214" axis="self" ptType="parTrans">
                    <dgm:layoutNode name="Name215" styleLbl="parChTrans1D1">
                      <dgm:choose name="Name216">
                        <dgm:if name="Name21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7"/>
                          </dgm:alg>
                        </dgm:if>
                        <dgm:else name="Name21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7"/>
                            <dgm:param type="dstNode" val="anchor7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219" axis="self" ptType="node">
                    <dgm:choose name="Name220">
                      <dgm:if name="Name221" axis="par ch" ptType="node node" func="cnt" op="equ" val="1">
                        <dgm:layoutNode name="top7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222"/>
                    </dgm:choose>
                    <dgm:layoutNode name="txAndLines7">
                      <dgm:choose name="Name223">
                        <dgm:if name="Name224" func="var" arg="dir" op="equ" val="norm">
                          <dgm:alg type="lin"/>
                        </dgm:if>
                        <dgm:else name="Name22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w" for="ch" forName="anchor7" refType="w" fact="0.89"/>
                        <dgm:constr type="w" for="ch" forName="backup7" refType="w" fact="-0.89"/>
                        <dgm:constr type="w" for="ch" forName="preLine7" refType="w" fact="0.11"/>
                        <dgm:constr type="w" for="ch" forName="desTx7" refType="w" fact="0.78"/>
                      </dgm:constrLst>
                      <dgm:layoutNode name="anchor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7" styleLbl="parChTrans1D1" moveWith="desTx7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7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</dgm:layoutNode>
                  </dgm:forEach>
                </dgm:forEach>
              </dgm:layoutNode>
            </dgm:if>
            <dgm:else name="Name226"/>
          </dgm:choose>
        </dgm:if>
        <dgm:else name="Name22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D10B71-CA72-2B44-AE3C-6DAE6F6C3240}" type="datetimeFigureOut">
              <a:rPr lang="en-US" smtClean="0"/>
              <a:t>7/2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D396A8-B2AA-6049-9A71-BAB0E5E10D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243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D396A8-B2AA-6049-9A71-BAB0E5E10DA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73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80BA2-1CAA-ED3D-C47A-2DCD41AABF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AE221F-C125-A345-779D-9D624BDA28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9D02F-016A-EF2D-5E96-D9224F90D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F5630E-C597-C75C-AE74-608D492E1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D05C0F-A8F9-34C7-E861-678125B6D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309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114A0D-96DE-DCCE-B4E4-5942A4003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437CEE-1D9D-4FBA-50D0-2F65A849DD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7D423-5CB6-7051-C8FD-85E0E9C355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F7E55-5238-D15B-384B-B37141B32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659E80-32D9-3B71-A121-2D71913FF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489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A82638-DD2B-713F-921C-60DB8A8799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3B4B95-5C2B-087A-5762-7C73822813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7C7539-9D3D-7C78-CF07-CE72BCD16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8CDBDB-0DDD-FA98-D589-60E6FC2FA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43CC9-6D2D-A3D9-D610-AC4E68563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53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44D991-E714-4345-800C-A12143B9D6C7}"/>
              </a:ext>
            </a:extLst>
          </p:cNvPr>
          <p:cNvSpPr/>
          <p:nvPr/>
        </p:nvSpPr>
        <p:spPr>
          <a:xfrm>
            <a:off x="4153153" y="0"/>
            <a:ext cx="803884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08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C96C4B-29DF-6944-8168-89994699FA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966" y="1394460"/>
            <a:ext cx="3444875" cy="1765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99"/>
              </a:lnSpc>
              <a:spcBef>
                <a:spcPts val="0"/>
              </a:spcBef>
              <a:buNone/>
              <a:defRPr sz="4199" b="0" i="0" spc="70" baseline="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457072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14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21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286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EDIT THE MAIN TITLE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1075C1-EBF8-5C4F-97A2-F796EA43673B}"/>
              </a:ext>
            </a:extLst>
          </p:cNvPr>
          <p:cNvSpPr txBox="1"/>
          <p:nvPr/>
        </p:nvSpPr>
        <p:spPr>
          <a:xfrm>
            <a:off x="382297" y="5415280"/>
            <a:ext cx="6096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spc="50" baseline="0">
                <a:solidFill>
                  <a:schemeClr val="tx2"/>
                </a:solidFill>
                <a:latin typeface="Arial" panose="020B0604020202020204" pitchFamily="34" charset="0"/>
                <a:ea typeface="Helvetica Neue Medium" panose="02000503000000020004" pitchFamily="2" charset="0"/>
                <a:cs typeface="Arial" panose="020B0604020202020204" pitchFamily="34" charset="0"/>
              </a:rPr>
              <a:t>NOT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40AF1A-1681-8D49-96AD-2DFE483B75D7}"/>
              </a:ext>
            </a:extLst>
          </p:cNvPr>
          <p:cNvSpPr txBox="1"/>
          <p:nvPr/>
        </p:nvSpPr>
        <p:spPr>
          <a:xfrm>
            <a:off x="371907" y="6140752"/>
            <a:ext cx="10160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spc="50" baseline="0">
                <a:solidFill>
                  <a:schemeClr val="tx2"/>
                </a:solidFill>
                <a:latin typeface="Arial" panose="020B0604020202020204" pitchFamily="34" charset="0"/>
                <a:ea typeface="Helvetica Neue Medium" panose="02000503000000020004" pitchFamily="2" charset="0"/>
                <a:cs typeface="Arial" panose="020B0604020202020204" pitchFamily="34" charset="0"/>
              </a:rPr>
              <a:t>LAST EDITED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7C57071-4A6E-5542-B832-0C6A7D16E8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53153" y="0"/>
            <a:ext cx="8041387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image here — Please do not readjust the image position)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E893FF49-15BB-5247-ACBE-107EC45A4A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966" y="3261360"/>
            <a:ext cx="3444875" cy="822960"/>
          </a:xfrm>
          <a:prstGeom prst="rect">
            <a:avLst/>
          </a:prstGeom>
        </p:spPr>
        <p:txBody>
          <a:bodyPr/>
          <a:lstStyle>
            <a:lvl1pPr marL="0" marR="0" indent="0" algn="l" defTabSz="914143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accent3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457072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14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21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286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914143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he subtitle he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863AA2-83DF-354B-90D4-2DD5C9B8D734}"/>
              </a:ext>
            </a:extLst>
          </p:cNvPr>
          <p:cNvSpPr txBox="1"/>
          <p:nvPr/>
        </p:nvSpPr>
        <p:spPr>
          <a:xfrm>
            <a:off x="382297" y="5545466"/>
            <a:ext cx="3403600" cy="430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50"/>
              </a:lnSpc>
            </a:pPr>
            <a:r>
              <a:rPr lang="en-US" sz="700" b="0" i="0" kern="1200" spc="15" baseline="0">
                <a:solidFill>
                  <a:schemeClr val="tx2"/>
                </a:solidFill>
                <a:effectLst/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The information contained in this documents is confidential, privileged and</a:t>
            </a:r>
          </a:p>
          <a:p>
            <a:pPr>
              <a:lnSpc>
                <a:spcPts val="850"/>
              </a:lnSpc>
            </a:pPr>
            <a:r>
              <a:rPr lang="en-US" sz="700" b="0" i="0" kern="1200" spc="15" baseline="0">
                <a:solidFill>
                  <a:schemeClr val="tx2"/>
                </a:solidFill>
                <a:effectLst/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only for the information of the intended recipient and may not be used, published or redistributed without the prior written consent of Tesla, Inc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8A7F8EE-3DC7-D449-B839-3BABD0C06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686" y="381000"/>
            <a:ext cx="829852" cy="58951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BE6F081-7E58-7D41-AD5C-5E22F5C1AE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296" y="6258560"/>
            <a:ext cx="3444875" cy="254000"/>
          </a:xfrm>
          <a:prstGeom prst="rect">
            <a:avLst/>
          </a:prstGeom>
        </p:spPr>
        <p:txBody>
          <a:bodyPr/>
          <a:lstStyle>
            <a:lvl1pPr marL="0" marR="0" indent="0" algn="l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 b="0" i="0">
                <a:solidFill>
                  <a:schemeClr val="accent3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457072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143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215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286" indent="0">
              <a:buNone/>
              <a:defRPr b="0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marL="0" marR="0" lvl="0" indent="0" algn="l" defTabSz="914143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Month Date, Year (e.g., April 04, 2021)</a:t>
            </a:r>
          </a:p>
        </p:txBody>
      </p:sp>
    </p:spTree>
    <p:extLst>
      <p:ext uri="{BB962C8B-B14F-4D97-AF65-F5344CB8AC3E}">
        <p14:creationId xmlns:p14="http://schemas.microsoft.com/office/powerpoint/2010/main" val="2757119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233">
          <p15:clr>
            <a:srgbClr val="FBAE40"/>
          </p15:clr>
        </p15:guide>
        <p15:guide id="3" pos="481">
          <p15:clr>
            <a:srgbClr val="FBAE40"/>
          </p15:clr>
        </p15:guide>
        <p15:guide id="7" orient="horz" pos="4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DC37FE-1807-D6B6-08F0-D53FAE2EA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4925B-08C6-BD57-8CB3-B205B09031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1F8697-ED42-8BF8-1625-979C39442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C216A7-BBD0-54DB-AD30-817104DF0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F818C0-9C0C-F282-5C08-DED6C0DAD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05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09F51-3795-EED0-01B0-557218221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29BD80-0249-8102-1A4C-F3549DA9E6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67D71-8F5B-4392-A4F8-91AE53C93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DA66B2-EDE3-064F-50DF-C04DC8C72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AABD1C-0632-BFFA-8107-AB7F9980E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79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A99D6-14BD-B467-0874-B9886527B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554289-B03A-80F1-2013-B6D05A349A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395C5-0CDF-3364-05A1-4EF1EB57B8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4CC425-9F94-7AA7-AB67-EFE8C56AA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C90EB3-D027-559C-46FA-759ED478B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41DDED-AFC7-79C5-0A68-EFC3A6DDC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80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550DC-8666-8E16-AB87-0D33D0D73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D7C033-C967-45C2-469B-2851A4CB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7AC10B-1805-DE62-DCD7-94A3240317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6AAEA-8BAF-D94B-DD4F-544FF9A22F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CE97AE-5289-3FE3-A980-40B4019660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4EBA8A-5F1C-D6E8-A177-88AA8638B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7E4663-8C43-B29F-E656-68BFFD569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43983F-AB01-2098-C660-A9E1C1735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140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3B15A-0007-CFAF-D667-C6EA8C968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0D4E45-DA94-7508-52E9-1020D8B5E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FE076F-0FC6-E40E-AA83-82C79F01B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E0E4EC-4C77-7F85-3CEF-C0903FE90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774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1F80D4-3067-2BC0-B182-F6A29D7A6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C25372-3902-9238-E2DB-E5362166E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B57121-3D75-57EF-716A-BDCCF0884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523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38B81-3F2E-C6F0-FECE-00F50B5F4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31C662-C5D7-602A-E2D4-E429AE298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00EBAE-E5CE-1B11-7C8F-F301BA5039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A041F3-3C97-5993-657A-9622F9DD1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BA9F8-1F58-C2E2-AA70-1AB297101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7740F8-2E1C-8394-DB46-00D8210A8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744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9D0C6-E1CF-3611-6D4C-5C749CE11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2F09B3-057D-E54B-88F6-106ECC8BDE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66AC4D-BF3F-FA67-EB6C-8D2B96E976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C77457-4AA9-38FD-8E51-E4188A0323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ED9FF2-A6C8-4047-09B8-FBF49499D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6C90D9-1E5B-A9FB-C6AE-91F1EB667F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305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7E5EDE-7A0B-38B4-8582-04914A8B5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10448-D69C-7ACB-4A3C-725D8B47FB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5CB33F-4BE1-D555-25BC-7E00BD5005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304F0-0722-364C-B70D-9EF34DB01FCC}" type="datetimeFigureOut">
              <a:rPr lang="en-US" smtClean="0"/>
              <a:t>7/27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9A052-C459-5C24-37C6-208E2C3046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1DA2A0-B68A-FB50-84EA-58F21CB8E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062BC8-3FA7-2E4D-AED7-AEAFD8C0B7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99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34EAFF-027F-F02A-4CCC-E018AB1C3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34EAFF-027F-F02A-4CCC-E018AB1C3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9FE985-720E-A2D8-E956-88D0A7D798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000" dirty="0"/>
              <a:t>Factory Design Tool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6AC6E9-BE6D-E654-5CD5-6EA6902E47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Rohan Singh</a:t>
            </a:r>
          </a:p>
        </p:txBody>
      </p:sp>
      <p:pic>
        <p:nvPicPr>
          <p:cNvPr id="10" name="Picture 9" descr="A blueprint of a city&#10;&#10;Description automatically generated">
            <a:extLst>
              <a:ext uri="{FF2B5EF4-FFF2-40B4-BE49-F238E27FC236}">
                <a16:creationId xmlns:a16="http://schemas.microsoft.com/office/drawing/2014/main" id="{2BA73A18-375B-8C15-F5BB-856D882814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6960" y="505803"/>
            <a:ext cx="8486364" cy="55111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AC7CBD3-B135-13A4-B0D1-F29752E19F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9424" y="3382140"/>
            <a:ext cx="1177158" cy="3475860"/>
          </a:xfrm>
          <a:prstGeom prst="rect">
            <a:avLst/>
          </a:prstGeom>
        </p:spPr>
      </p:pic>
      <p:pic>
        <p:nvPicPr>
          <p:cNvPr id="20" name="Picture 19" descr="A close-up of a map&#10;&#10;Description automatically generated">
            <a:extLst>
              <a:ext uri="{FF2B5EF4-FFF2-40B4-BE49-F238E27FC236}">
                <a16:creationId xmlns:a16="http://schemas.microsoft.com/office/drawing/2014/main" id="{E964F302-C40E-3739-8F43-E3B4D92D38B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282" r="20765"/>
          <a:stretch/>
        </p:blipFill>
        <p:spPr>
          <a:xfrm>
            <a:off x="7935310" y="0"/>
            <a:ext cx="4256690" cy="3286944"/>
          </a:xfrm>
          <a:custGeom>
            <a:avLst/>
            <a:gdLst/>
            <a:ahLst/>
            <a:cxnLst/>
            <a:rect l="l" t="t" r="r" b="b"/>
            <a:pathLst>
              <a:path w="4579876" h="3536502">
                <a:moveTo>
                  <a:pt x="457312" y="0"/>
                </a:moveTo>
                <a:lnTo>
                  <a:pt x="4579876" y="0"/>
                </a:lnTo>
                <a:lnTo>
                  <a:pt x="4579876" y="3057029"/>
                </a:lnTo>
                <a:lnTo>
                  <a:pt x="4508441" y="3086568"/>
                </a:lnTo>
                <a:cubicBezTo>
                  <a:pt x="4391572" y="3126663"/>
                  <a:pt x="4301124" y="3221848"/>
                  <a:pt x="4183947" y="3271738"/>
                </a:cubicBezTo>
                <a:cubicBezTo>
                  <a:pt x="4099090" y="3307854"/>
                  <a:pt x="4017967" y="3354374"/>
                  <a:pt x="3930625" y="3387123"/>
                </a:cubicBezTo>
                <a:cubicBezTo>
                  <a:pt x="3723932" y="3464557"/>
                  <a:pt x="3513195" y="3526689"/>
                  <a:pt x="3290337" y="3535564"/>
                </a:cubicBezTo>
                <a:cubicBezTo>
                  <a:pt x="3106332" y="3542605"/>
                  <a:pt x="1510274" y="3535872"/>
                  <a:pt x="861903" y="2528615"/>
                </a:cubicBezTo>
                <a:cubicBezTo>
                  <a:pt x="849470" y="2523717"/>
                  <a:pt x="835485" y="2510862"/>
                  <a:pt x="831133" y="2498619"/>
                </a:cubicBezTo>
                <a:cubicBezTo>
                  <a:pt x="810307" y="2441385"/>
                  <a:pt x="759333" y="2416594"/>
                  <a:pt x="713333" y="2385682"/>
                </a:cubicBezTo>
                <a:cubicBezTo>
                  <a:pt x="672925" y="2358442"/>
                  <a:pt x="630030" y="2329978"/>
                  <a:pt x="613246" y="2284067"/>
                </a:cubicBezTo>
                <a:cubicBezTo>
                  <a:pt x="591179" y="2222855"/>
                  <a:pt x="653963" y="2273050"/>
                  <a:pt x="665465" y="2249789"/>
                </a:cubicBezTo>
                <a:cubicBezTo>
                  <a:pt x="641532" y="2217960"/>
                  <a:pt x="604543" y="2188882"/>
                  <a:pt x="594908" y="2152767"/>
                </a:cubicBezTo>
                <a:cubicBezTo>
                  <a:pt x="559787" y="2022383"/>
                  <a:pt x="483946" y="1927503"/>
                  <a:pt x="370497" y="1853742"/>
                </a:cubicBezTo>
                <a:cubicBezTo>
                  <a:pt x="337861" y="1832624"/>
                  <a:pt x="316415" y="1794059"/>
                  <a:pt x="271969" y="1787940"/>
                </a:cubicBezTo>
                <a:cubicBezTo>
                  <a:pt x="173127" y="1774472"/>
                  <a:pt x="204209" y="1669186"/>
                  <a:pt x="151990" y="1622358"/>
                </a:cubicBezTo>
                <a:cubicBezTo>
                  <a:pt x="142044" y="1613481"/>
                  <a:pt x="133031" y="1596037"/>
                  <a:pt x="134895" y="1584102"/>
                </a:cubicBezTo>
                <a:cubicBezTo>
                  <a:pt x="137691" y="1566959"/>
                  <a:pt x="149504" y="1550739"/>
                  <a:pt x="159450" y="1535435"/>
                </a:cubicBezTo>
                <a:cubicBezTo>
                  <a:pt x="169708" y="1520133"/>
                  <a:pt x="185247" y="1506664"/>
                  <a:pt x="177788" y="1486465"/>
                </a:cubicBezTo>
                <a:cubicBezTo>
                  <a:pt x="174683" y="1478202"/>
                  <a:pt x="176855" y="1449432"/>
                  <a:pt x="153856" y="1472079"/>
                </a:cubicBezTo>
                <a:cubicBezTo>
                  <a:pt x="90760" y="1534212"/>
                  <a:pt x="54082" y="1475449"/>
                  <a:pt x="0" y="1447289"/>
                </a:cubicBezTo>
                <a:cubicBezTo>
                  <a:pt x="43515" y="1418212"/>
                  <a:pt x="82677" y="1397707"/>
                  <a:pt x="89205" y="1354247"/>
                </a:cubicBezTo>
                <a:cubicBezTo>
                  <a:pt x="102570" y="1264569"/>
                  <a:pt x="159758" y="1223557"/>
                  <a:pt x="246479" y="1215599"/>
                </a:cubicBezTo>
                <a:cubicBezTo>
                  <a:pt x="214465" y="1128983"/>
                  <a:pt x="214465" y="1128983"/>
                  <a:pt x="317968" y="1117045"/>
                </a:cubicBezTo>
                <a:cubicBezTo>
                  <a:pt x="278183" y="1061955"/>
                  <a:pt x="278183" y="1047876"/>
                  <a:pt x="326362" y="1028900"/>
                </a:cubicBezTo>
                <a:cubicBezTo>
                  <a:pt x="372673" y="1010841"/>
                  <a:pt x="423957" y="1004720"/>
                  <a:pt x="466852" y="976870"/>
                </a:cubicBezTo>
                <a:cubicBezTo>
                  <a:pt x="427377" y="906475"/>
                  <a:pt x="416188" y="824756"/>
                  <a:pt x="334754" y="790475"/>
                </a:cubicBezTo>
                <a:cubicBezTo>
                  <a:pt x="322010" y="785272"/>
                  <a:pt x="313307" y="764154"/>
                  <a:pt x="321386" y="751912"/>
                </a:cubicBezTo>
                <a:cubicBezTo>
                  <a:pt x="350915" y="707534"/>
                  <a:pt x="308644" y="623365"/>
                  <a:pt x="400645" y="613877"/>
                </a:cubicBezTo>
                <a:cubicBezTo>
                  <a:pt x="412147" y="612959"/>
                  <a:pt x="422716" y="603776"/>
                  <a:pt x="413701" y="591839"/>
                </a:cubicBezTo>
                <a:cubicBezTo>
                  <a:pt x="382618" y="550216"/>
                  <a:pt x="420228" y="552969"/>
                  <a:pt x="442917" y="547767"/>
                </a:cubicBezTo>
                <a:cubicBezTo>
                  <a:pt x="470271" y="541341"/>
                  <a:pt x="501353" y="559703"/>
                  <a:pt x="526840" y="537055"/>
                </a:cubicBezTo>
                <a:cubicBezTo>
                  <a:pt x="520932" y="513181"/>
                  <a:pt x="498866" y="513487"/>
                  <a:pt x="483325" y="505836"/>
                </a:cubicBezTo>
                <a:cubicBezTo>
                  <a:pt x="437946" y="483799"/>
                  <a:pt x="400956" y="457479"/>
                  <a:pt x="398780" y="400243"/>
                </a:cubicBezTo>
                <a:cubicBezTo>
                  <a:pt x="397229" y="354028"/>
                  <a:pt x="392255" y="313323"/>
                  <a:pt x="455041" y="299242"/>
                </a:cubicBezTo>
                <a:cubicBezTo>
                  <a:pt x="481149" y="293426"/>
                  <a:pt x="473687" y="260067"/>
                  <a:pt x="458769" y="243538"/>
                </a:cubicBezTo>
                <a:cubicBezTo>
                  <a:pt x="432038" y="214157"/>
                  <a:pt x="409972" y="174981"/>
                  <a:pt x="363969" y="172227"/>
                </a:cubicBezTo>
                <a:cubicBezTo>
                  <a:pt x="335995" y="170391"/>
                  <a:pt x="314549" y="158146"/>
                  <a:pt x="292481" y="144069"/>
                </a:cubicBezTo>
                <a:cubicBezTo>
                  <a:pt x="276630" y="133966"/>
                  <a:pt x="257670" y="125398"/>
                  <a:pt x="259534" y="103668"/>
                </a:cubicBezTo>
                <a:cubicBezTo>
                  <a:pt x="261399" y="82855"/>
                  <a:pt x="279736" y="74286"/>
                  <a:pt x="298387" y="70001"/>
                </a:cubicBezTo>
                <a:cubicBezTo>
                  <a:pt x="345011" y="59672"/>
                  <a:pt x="389535" y="45726"/>
                  <a:pt x="430782" y="19902"/>
                </a:cubicBezTo>
                <a:close/>
              </a:path>
            </a:pathLst>
          </a:custGeom>
          <a:effectLst>
            <a:outerShdw blurRad="50800" dist="50800" dir="5400000" sx="74325" sy="74325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800806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734EAFF-027F-F02A-4CCC-E018AB1C3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734EAFF-027F-F02A-4CCC-E018AB1C3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9FE985-720E-A2D8-E956-88D0A7D798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000" dirty="0"/>
              <a:t>Factory Design Tool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6AC6E9-BE6D-E654-5CD5-6EA6902E47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Rohan Singh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A1F496-732E-45E3-4AB8-DCAF91D286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uly 28</a:t>
            </a:r>
            <a:r>
              <a:rPr lang="en-US" baseline="30000" dirty="0"/>
              <a:t>th</a:t>
            </a:r>
            <a:r>
              <a:rPr lang="en-US" dirty="0"/>
              <a:t> 202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F8887B-AD1D-15FF-EB79-C647301FEFC4}"/>
              </a:ext>
            </a:extLst>
          </p:cNvPr>
          <p:cNvSpPr txBox="1"/>
          <p:nvPr/>
        </p:nvSpPr>
        <p:spPr>
          <a:xfrm>
            <a:off x="4867275" y="3343274"/>
            <a:ext cx="2743199" cy="4571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FDF998-C8B4-FAF0-6E2A-EFB0DD4A7891}"/>
              </a:ext>
            </a:extLst>
          </p:cNvPr>
          <p:cNvSpPr txBox="1"/>
          <p:nvPr/>
        </p:nvSpPr>
        <p:spPr>
          <a:xfrm>
            <a:off x="5010150" y="3486149"/>
            <a:ext cx="2743199" cy="4571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6F711B-C29B-0885-0C5D-2953BEAA7A55}"/>
              </a:ext>
            </a:extLst>
          </p:cNvPr>
          <p:cNvSpPr txBox="1"/>
          <p:nvPr/>
        </p:nvSpPr>
        <p:spPr>
          <a:xfrm>
            <a:off x="5581650" y="4057649"/>
            <a:ext cx="2743199" cy="4571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ED3387-5201-D432-74F5-796E2A131CC4}"/>
              </a:ext>
            </a:extLst>
          </p:cNvPr>
          <p:cNvSpPr txBox="1"/>
          <p:nvPr/>
        </p:nvSpPr>
        <p:spPr>
          <a:xfrm>
            <a:off x="5724525" y="4200524"/>
            <a:ext cx="2743199" cy="4571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077CC76-D845-A295-6F4D-4417233BCD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27171" y="5255"/>
            <a:ext cx="8364829" cy="6858000"/>
          </a:xfrm>
          <a:solidFill>
            <a:schemeClr val="bg1"/>
          </a:solidFill>
        </p:spPr>
      </p:sp>
      <p:pic>
        <p:nvPicPr>
          <p:cNvPr id="9" name="Picture 8" descr="A blueprint of a city&#10;&#10;Description automatically generated">
            <a:extLst>
              <a:ext uri="{FF2B5EF4-FFF2-40B4-BE49-F238E27FC236}">
                <a16:creationId xmlns:a16="http://schemas.microsoft.com/office/drawing/2014/main" id="{8057EE44-8F20-4950-DE75-50729F636B4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75"/>
          <a:stretch/>
        </p:blipFill>
        <p:spPr>
          <a:xfrm>
            <a:off x="3657600" y="515007"/>
            <a:ext cx="8355723" cy="550191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11799C7-FE26-AD0E-6762-B957F0ACCC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9424" y="3382140"/>
            <a:ext cx="1177158" cy="3475860"/>
          </a:xfrm>
          <a:prstGeom prst="rect">
            <a:avLst/>
          </a:prstGeom>
        </p:spPr>
      </p:pic>
      <p:pic>
        <p:nvPicPr>
          <p:cNvPr id="2" name="Picture 1" descr="A close-up of a map&#10;&#10;Description automatically generated">
            <a:extLst>
              <a:ext uri="{FF2B5EF4-FFF2-40B4-BE49-F238E27FC236}">
                <a16:creationId xmlns:a16="http://schemas.microsoft.com/office/drawing/2014/main" id="{B434B5AA-71E7-7CFC-654F-E3B5E80A3CB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282" r="20765"/>
          <a:stretch/>
        </p:blipFill>
        <p:spPr>
          <a:xfrm>
            <a:off x="7935310" y="0"/>
            <a:ext cx="4256690" cy="3286944"/>
          </a:xfrm>
          <a:custGeom>
            <a:avLst/>
            <a:gdLst/>
            <a:ahLst/>
            <a:cxnLst/>
            <a:rect l="l" t="t" r="r" b="b"/>
            <a:pathLst>
              <a:path w="4579876" h="3536502">
                <a:moveTo>
                  <a:pt x="457312" y="0"/>
                </a:moveTo>
                <a:lnTo>
                  <a:pt x="4579876" y="0"/>
                </a:lnTo>
                <a:lnTo>
                  <a:pt x="4579876" y="3057029"/>
                </a:lnTo>
                <a:lnTo>
                  <a:pt x="4508441" y="3086568"/>
                </a:lnTo>
                <a:cubicBezTo>
                  <a:pt x="4391572" y="3126663"/>
                  <a:pt x="4301124" y="3221848"/>
                  <a:pt x="4183947" y="3271738"/>
                </a:cubicBezTo>
                <a:cubicBezTo>
                  <a:pt x="4099090" y="3307854"/>
                  <a:pt x="4017967" y="3354374"/>
                  <a:pt x="3930625" y="3387123"/>
                </a:cubicBezTo>
                <a:cubicBezTo>
                  <a:pt x="3723932" y="3464557"/>
                  <a:pt x="3513195" y="3526689"/>
                  <a:pt x="3290337" y="3535564"/>
                </a:cubicBezTo>
                <a:cubicBezTo>
                  <a:pt x="3106332" y="3542605"/>
                  <a:pt x="1510274" y="3535872"/>
                  <a:pt x="861903" y="2528615"/>
                </a:cubicBezTo>
                <a:cubicBezTo>
                  <a:pt x="849470" y="2523717"/>
                  <a:pt x="835485" y="2510862"/>
                  <a:pt x="831133" y="2498619"/>
                </a:cubicBezTo>
                <a:cubicBezTo>
                  <a:pt x="810307" y="2441385"/>
                  <a:pt x="759333" y="2416594"/>
                  <a:pt x="713333" y="2385682"/>
                </a:cubicBezTo>
                <a:cubicBezTo>
                  <a:pt x="672925" y="2358442"/>
                  <a:pt x="630030" y="2329978"/>
                  <a:pt x="613246" y="2284067"/>
                </a:cubicBezTo>
                <a:cubicBezTo>
                  <a:pt x="591179" y="2222855"/>
                  <a:pt x="653963" y="2273050"/>
                  <a:pt x="665465" y="2249789"/>
                </a:cubicBezTo>
                <a:cubicBezTo>
                  <a:pt x="641532" y="2217960"/>
                  <a:pt x="604543" y="2188882"/>
                  <a:pt x="594908" y="2152767"/>
                </a:cubicBezTo>
                <a:cubicBezTo>
                  <a:pt x="559787" y="2022383"/>
                  <a:pt x="483946" y="1927503"/>
                  <a:pt x="370497" y="1853742"/>
                </a:cubicBezTo>
                <a:cubicBezTo>
                  <a:pt x="337861" y="1832624"/>
                  <a:pt x="316415" y="1794059"/>
                  <a:pt x="271969" y="1787940"/>
                </a:cubicBezTo>
                <a:cubicBezTo>
                  <a:pt x="173127" y="1774472"/>
                  <a:pt x="204209" y="1669186"/>
                  <a:pt x="151990" y="1622358"/>
                </a:cubicBezTo>
                <a:cubicBezTo>
                  <a:pt x="142044" y="1613481"/>
                  <a:pt x="133031" y="1596037"/>
                  <a:pt x="134895" y="1584102"/>
                </a:cubicBezTo>
                <a:cubicBezTo>
                  <a:pt x="137691" y="1566959"/>
                  <a:pt x="149504" y="1550739"/>
                  <a:pt x="159450" y="1535435"/>
                </a:cubicBezTo>
                <a:cubicBezTo>
                  <a:pt x="169708" y="1520133"/>
                  <a:pt x="185247" y="1506664"/>
                  <a:pt x="177788" y="1486465"/>
                </a:cubicBezTo>
                <a:cubicBezTo>
                  <a:pt x="174683" y="1478202"/>
                  <a:pt x="176855" y="1449432"/>
                  <a:pt x="153856" y="1472079"/>
                </a:cubicBezTo>
                <a:cubicBezTo>
                  <a:pt x="90760" y="1534212"/>
                  <a:pt x="54082" y="1475449"/>
                  <a:pt x="0" y="1447289"/>
                </a:cubicBezTo>
                <a:cubicBezTo>
                  <a:pt x="43515" y="1418212"/>
                  <a:pt x="82677" y="1397707"/>
                  <a:pt x="89205" y="1354247"/>
                </a:cubicBezTo>
                <a:cubicBezTo>
                  <a:pt x="102570" y="1264569"/>
                  <a:pt x="159758" y="1223557"/>
                  <a:pt x="246479" y="1215599"/>
                </a:cubicBezTo>
                <a:cubicBezTo>
                  <a:pt x="214465" y="1128983"/>
                  <a:pt x="214465" y="1128983"/>
                  <a:pt x="317968" y="1117045"/>
                </a:cubicBezTo>
                <a:cubicBezTo>
                  <a:pt x="278183" y="1061955"/>
                  <a:pt x="278183" y="1047876"/>
                  <a:pt x="326362" y="1028900"/>
                </a:cubicBezTo>
                <a:cubicBezTo>
                  <a:pt x="372673" y="1010841"/>
                  <a:pt x="423957" y="1004720"/>
                  <a:pt x="466852" y="976870"/>
                </a:cubicBezTo>
                <a:cubicBezTo>
                  <a:pt x="427377" y="906475"/>
                  <a:pt x="416188" y="824756"/>
                  <a:pt x="334754" y="790475"/>
                </a:cubicBezTo>
                <a:cubicBezTo>
                  <a:pt x="322010" y="785272"/>
                  <a:pt x="313307" y="764154"/>
                  <a:pt x="321386" y="751912"/>
                </a:cubicBezTo>
                <a:cubicBezTo>
                  <a:pt x="350915" y="707534"/>
                  <a:pt x="308644" y="623365"/>
                  <a:pt x="400645" y="613877"/>
                </a:cubicBezTo>
                <a:cubicBezTo>
                  <a:pt x="412147" y="612959"/>
                  <a:pt x="422716" y="603776"/>
                  <a:pt x="413701" y="591839"/>
                </a:cubicBezTo>
                <a:cubicBezTo>
                  <a:pt x="382618" y="550216"/>
                  <a:pt x="420228" y="552969"/>
                  <a:pt x="442917" y="547767"/>
                </a:cubicBezTo>
                <a:cubicBezTo>
                  <a:pt x="470271" y="541341"/>
                  <a:pt x="501353" y="559703"/>
                  <a:pt x="526840" y="537055"/>
                </a:cubicBezTo>
                <a:cubicBezTo>
                  <a:pt x="520932" y="513181"/>
                  <a:pt x="498866" y="513487"/>
                  <a:pt x="483325" y="505836"/>
                </a:cubicBezTo>
                <a:cubicBezTo>
                  <a:pt x="437946" y="483799"/>
                  <a:pt x="400956" y="457479"/>
                  <a:pt x="398780" y="400243"/>
                </a:cubicBezTo>
                <a:cubicBezTo>
                  <a:pt x="397229" y="354028"/>
                  <a:pt x="392255" y="313323"/>
                  <a:pt x="455041" y="299242"/>
                </a:cubicBezTo>
                <a:cubicBezTo>
                  <a:pt x="481149" y="293426"/>
                  <a:pt x="473687" y="260067"/>
                  <a:pt x="458769" y="243538"/>
                </a:cubicBezTo>
                <a:cubicBezTo>
                  <a:pt x="432038" y="214157"/>
                  <a:pt x="409972" y="174981"/>
                  <a:pt x="363969" y="172227"/>
                </a:cubicBezTo>
                <a:cubicBezTo>
                  <a:pt x="335995" y="170391"/>
                  <a:pt x="314549" y="158146"/>
                  <a:pt x="292481" y="144069"/>
                </a:cubicBezTo>
                <a:cubicBezTo>
                  <a:pt x="276630" y="133966"/>
                  <a:pt x="257670" y="125398"/>
                  <a:pt x="259534" y="103668"/>
                </a:cubicBezTo>
                <a:cubicBezTo>
                  <a:pt x="261399" y="82855"/>
                  <a:pt x="279736" y="74286"/>
                  <a:pt x="298387" y="70001"/>
                </a:cubicBezTo>
                <a:cubicBezTo>
                  <a:pt x="345011" y="59672"/>
                  <a:pt x="389535" y="45726"/>
                  <a:pt x="430782" y="19902"/>
                </a:cubicBezTo>
                <a:close/>
              </a:path>
            </a:pathLst>
          </a:custGeom>
          <a:effectLst>
            <a:outerShdw blurRad="50800" dist="50800" dir="5400000" sx="74325" sy="74325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941216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8">
            <a:extLst>
              <a:ext uri="{FF2B5EF4-FFF2-40B4-BE49-F238E27FC236}">
                <a16:creationId xmlns:a16="http://schemas.microsoft.com/office/drawing/2014/main" id="{131BAD53-4E89-4F62-BBB7-26359763E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0">
            <a:extLst>
              <a:ext uri="{FF2B5EF4-FFF2-40B4-BE49-F238E27FC236}">
                <a16:creationId xmlns:a16="http://schemas.microsoft.com/office/drawing/2014/main" id="{62756DA2-40EB-4C6F-B962-5822FFB54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5A83C-826E-D80D-56F6-8ADA71F0C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9600"/>
            <a:ext cx="3739341" cy="1330839"/>
          </a:xfrm>
        </p:spPr>
        <p:txBody>
          <a:bodyPr>
            <a:normAutofit/>
          </a:bodyPr>
          <a:lstStyle/>
          <a:p>
            <a:r>
              <a:rPr lang="en-US" dirty="0"/>
              <a:t>What/Wh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35DF5F-E7B8-00B4-B4DA-AADA37B19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2366" y="2194102"/>
            <a:ext cx="3427001" cy="390858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  <a:latin typeface="Söhne"/>
              </a:rPr>
              <a:t>Tesla's </a:t>
            </a:r>
            <a:r>
              <a:rPr lang="en-US" sz="1700" b="1" i="1" dirty="0">
                <a:effectLst/>
                <a:latin typeface="Söhne"/>
              </a:rPr>
              <a:t>"build the box" </a:t>
            </a:r>
            <a:r>
              <a:rPr lang="en-US" sz="1700" b="0" i="0" dirty="0">
                <a:effectLst/>
                <a:latin typeface="Söhne"/>
              </a:rPr>
              <a:t>strategy involves constructing the Gigafactory first, followed by incremental development of its conten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  <a:latin typeface="Söhne"/>
              </a:rPr>
              <a:t>This approach creates a profoundly iterative environment for the Factory Design teams responsible for the box's design and its componen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0" b="0" i="0" dirty="0">
                <a:effectLst/>
                <a:latin typeface="Söhne"/>
              </a:rPr>
              <a:t>Evaluating these designs also becomes an equally iterative process.</a:t>
            </a:r>
          </a:p>
          <a:p>
            <a:pPr marL="0" indent="0">
              <a:buNone/>
            </a:pPr>
            <a:endParaRPr lang="en-US" sz="1700" dirty="0"/>
          </a:p>
        </p:txBody>
      </p:sp>
      <p:pic>
        <p:nvPicPr>
          <p:cNvPr id="4" name="Picture 2" descr="A blueprint of a building&#10;&#10;Description automatically generated">
            <a:extLst>
              <a:ext uri="{FF2B5EF4-FFF2-40B4-BE49-F238E27FC236}">
                <a16:creationId xmlns:a16="http://schemas.microsoft.com/office/drawing/2014/main" id="{C9581122-2680-15F7-FD8B-64E3E786C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85918" y="661916"/>
            <a:ext cx="6074218" cy="555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7837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87" name="Rectangle 3086">
            <a:extLst>
              <a:ext uri="{FF2B5EF4-FFF2-40B4-BE49-F238E27FC236}">
                <a16:creationId xmlns:a16="http://schemas.microsoft.com/office/drawing/2014/main" id="{F821940F-7A1D-4ACC-85B4-A932898AB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89" name="Freeform: Shape 3088">
            <a:extLst>
              <a:ext uri="{FF2B5EF4-FFF2-40B4-BE49-F238E27FC236}">
                <a16:creationId xmlns:a16="http://schemas.microsoft.com/office/drawing/2014/main" id="{16674508-81D3-48CF-96BF-7FC60EAA5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741994" cy="6858000"/>
          </a:xfrm>
          <a:custGeom>
            <a:avLst/>
            <a:gdLst>
              <a:gd name="connsiteX0" fmla="*/ 0 w 6568309"/>
              <a:gd name="connsiteY0" fmla="*/ 0 h 6858000"/>
              <a:gd name="connsiteX1" fmla="*/ 362841 w 6568309"/>
              <a:gd name="connsiteY1" fmla="*/ 0 h 6858000"/>
              <a:gd name="connsiteX2" fmla="*/ 523269 w 6568309"/>
              <a:gd name="connsiteY2" fmla="*/ 0 h 6858000"/>
              <a:gd name="connsiteX3" fmla="*/ 1343025 w 6568309"/>
              <a:gd name="connsiteY3" fmla="*/ 0 h 6858000"/>
              <a:gd name="connsiteX4" fmla="*/ 1705866 w 6568309"/>
              <a:gd name="connsiteY4" fmla="*/ 0 h 6858000"/>
              <a:gd name="connsiteX5" fmla="*/ 1866294 w 6568309"/>
              <a:gd name="connsiteY5" fmla="*/ 0 h 6858000"/>
              <a:gd name="connsiteX6" fmla="*/ 5225154 w 6568309"/>
              <a:gd name="connsiteY6" fmla="*/ 0 h 6858000"/>
              <a:gd name="connsiteX7" fmla="*/ 6568179 w 6568309"/>
              <a:gd name="connsiteY7" fmla="*/ 0 h 6858000"/>
              <a:gd name="connsiteX8" fmla="*/ 6568309 w 6568309"/>
              <a:gd name="connsiteY8" fmla="*/ 1 h 6858000"/>
              <a:gd name="connsiteX9" fmla="*/ 6562951 w 6568309"/>
              <a:gd name="connsiteY9" fmla="*/ 30700 h 6858000"/>
              <a:gd name="connsiteX10" fmla="*/ 6547446 w 6568309"/>
              <a:gd name="connsiteY10" fmla="*/ 310025 h 6858000"/>
              <a:gd name="connsiteX11" fmla="*/ 6558316 w 6568309"/>
              <a:gd name="connsiteY11" fmla="*/ 443960 h 6858000"/>
              <a:gd name="connsiteX12" fmla="*/ 6528896 w 6568309"/>
              <a:gd name="connsiteY12" fmla="*/ 642659 h 6858000"/>
              <a:gd name="connsiteX13" fmla="*/ 6523095 w 6568309"/>
              <a:gd name="connsiteY13" fmla="*/ 673307 h 6858000"/>
              <a:gd name="connsiteX14" fmla="*/ 6496169 w 6568309"/>
              <a:gd name="connsiteY14" fmla="*/ 839641 h 6858000"/>
              <a:gd name="connsiteX15" fmla="*/ 6450789 w 6568309"/>
              <a:gd name="connsiteY15" fmla="*/ 958357 h 6858000"/>
              <a:gd name="connsiteX16" fmla="*/ 6453996 w 6568309"/>
              <a:gd name="connsiteY16" fmla="*/ 963398 h 6858000"/>
              <a:gd name="connsiteX17" fmla="*/ 6419467 w 6568309"/>
              <a:gd name="connsiteY17" fmla="*/ 1117169 h 6858000"/>
              <a:gd name="connsiteX18" fmla="*/ 6417348 w 6568309"/>
              <a:gd name="connsiteY18" fmla="*/ 1144352 h 6858000"/>
              <a:gd name="connsiteX19" fmla="*/ 6418473 w 6568309"/>
              <a:gd name="connsiteY19" fmla="*/ 1164484 h 6858000"/>
              <a:gd name="connsiteX20" fmla="*/ 6406979 w 6568309"/>
              <a:gd name="connsiteY20" fmla="*/ 1213829 h 6858000"/>
              <a:gd name="connsiteX21" fmla="*/ 6381928 w 6568309"/>
              <a:gd name="connsiteY21" fmla="*/ 1294823 h 6858000"/>
              <a:gd name="connsiteX22" fmla="*/ 6377948 w 6568309"/>
              <a:gd name="connsiteY22" fmla="*/ 1312193 h 6858000"/>
              <a:gd name="connsiteX23" fmla="*/ 6379894 w 6568309"/>
              <a:gd name="connsiteY23" fmla="*/ 1327626 h 6858000"/>
              <a:gd name="connsiteX24" fmla="*/ 6385024 w 6568309"/>
              <a:gd name="connsiteY24" fmla="*/ 1331644 h 6858000"/>
              <a:gd name="connsiteX25" fmla="*/ 6383696 w 6568309"/>
              <a:gd name="connsiteY25" fmla="*/ 1341276 h 6858000"/>
              <a:gd name="connsiteX26" fmla="*/ 6384464 w 6568309"/>
              <a:gd name="connsiteY26" fmla="*/ 1343945 h 6858000"/>
              <a:gd name="connsiteX27" fmla="*/ 6387748 w 6568309"/>
              <a:gd name="connsiteY27" fmla="*/ 1359134 h 6858000"/>
              <a:gd name="connsiteX28" fmla="*/ 6364157 w 6568309"/>
              <a:gd name="connsiteY28" fmla="*/ 1427803 h 6858000"/>
              <a:gd name="connsiteX29" fmla="*/ 6335874 w 6568309"/>
              <a:gd name="connsiteY29" fmla="*/ 1540278 h 6858000"/>
              <a:gd name="connsiteX30" fmla="*/ 6331892 w 6568309"/>
              <a:gd name="connsiteY30" fmla="*/ 1547262 h 6858000"/>
              <a:gd name="connsiteX31" fmla="*/ 6332744 w 6568309"/>
              <a:gd name="connsiteY31" fmla="*/ 1577056 h 6858000"/>
              <a:gd name="connsiteX32" fmla="*/ 6333604 w 6568309"/>
              <a:gd name="connsiteY32" fmla="*/ 1595898 h 6858000"/>
              <a:gd name="connsiteX33" fmla="*/ 6324749 w 6568309"/>
              <a:gd name="connsiteY33" fmla="*/ 1703726 h 6858000"/>
              <a:gd name="connsiteX34" fmla="*/ 6329594 w 6568309"/>
              <a:gd name="connsiteY34" fmla="*/ 1809535 h 6858000"/>
              <a:gd name="connsiteX35" fmla="*/ 6329062 w 6568309"/>
              <a:gd name="connsiteY35" fmla="*/ 2018310 h 6858000"/>
              <a:gd name="connsiteX36" fmla="*/ 6321735 w 6568309"/>
              <a:gd name="connsiteY36" fmla="*/ 2071355 h 6858000"/>
              <a:gd name="connsiteX37" fmla="*/ 6322678 w 6568309"/>
              <a:gd name="connsiteY37" fmla="*/ 2141166 h 6858000"/>
              <a:gd name="connsiteX38" fmla="*/ 6321340 w 6568309"/>
              <a:gd name="connsiteY38" fmla="*/ 2154548 h 6858000"/>
              <a:gd name="connsiteX39" fmla="*/ 6316582 w 6568309"/>
              <a:gd name="connsiteY39" fmla="*/ 2158153 h 6858000"/>
              <a:gd name="connsiteX40" fmla="*/ 6311428 w 6568309"/>
              <a:gd name="connsiteY40" fmla="*/ 2178174 h 6858000"/>
              <a:gd name="connsiteX41" fmla="*/ 6310192 w 6568309"/>
              <a:gd name="connsiteY41" fmla="*/ 2202858 h 6858000"/>
              <a:gd name="connsiteX42" fmla="*/ 6309211 w 6568309"/>
              <a:gd name="connsiteY42" fmla="*/ 2320214 h 6858000"/>
              <a:gd name="connsiteX43" fmla="*/ 6300151 w 6568309"/>
              <a:gd name="connsiteY43" fmla="*/ 2417011 h 6858000"/>
              <a:gd name="connsiteX44" fmla="*/ 6295176 w 6568309"/>
              <a:gd name="connsiteY44" fmla="*/ 2454207 h 6858000"/>
              <a:gd name="connsiteX45" fmla="*/ 6293727 w 6568309"/>
              <a:gd name="connsiteY45" fmla="*/ 2487203 h 6858000"/>
              <a:gd name="connsiteX46" fmla="*/ 6285477 w 6568309"/>
              <a:gd name="connsiteY46" fmla="*/ 2512282 h 6858000"/>
              <a:gd name="connsiteX47" fmla="*/ 6286205 w 6568309"/>
              <a:gd name="connsiteY47" fmla="*/ 2514318 h 6858000"/>
              <a:gd name="connsiteX48" fmla="*/ 6304629 w 6568309"/>
              <a:gd name="connsiteY48" fmla="*/ 2574334 h 6858000"/>
              <a:gd name="connsiteX49" fmla="*/ 6303842 w 6568309"/>
              <a:gd name="connsiteY49" fmla="*/ 2579877 h 6858000"/>
              <a:gd name="connsiteX50" fmla="*/ 6303953 w 6568309"/>
              <a:gd name="connsiteY50" fmla="*/ 2608928 h 6858000"/>
              <a:gd name="connsiteX51" fmla="*/ 6303530 w 6568309"/>
              <a:gd name="connsiteY51" fmla="*/ 2613111 h 6858000"/>
              <a:gd name="connsiteX52" fmla="*/ 6297474 w 6568309"/>
              <a:gd name="connsiteY52" fmla="*/ 2621996 h 6858000"/>
              <a:gd name="connsiteX53" fmla="*/ 6299263 w 6568309"/>
              <a:gd name="connsiteY53" fmla="*/ 2634265 h 6858000"/>
              <a:gd name="connsiteX54" fmla="*/ 6293065 w 6568309"/>
              <a:gd name="connsiteY54" fmla="*/ 2647237 h 6858000"/>
              <a:gd name="connsiteX55" fmla="*/ 6297496 w 6568309"/>
              <a:gd name="connsiteY55" fmla="*/ 2650786 h 6858000"/>
              <a:gd name="connsiteX56" fmla="*/ 6301708 w 6568309"/>
              <a:gd name="connsiteY56" fmla="*/ 2661993 h 6858000"/>
              <a:gd name="connsiteX57" fmla="*/ 6295884 w 6568309"/>
              <a:gd name="connsiteY57" fmla="*/ 2670949 h 6858000"/>
              <a:gd name="connsiteX58" fmla="*/ 6291714 w 6568309"/>
              <a:gd name="connsiteY58" fmla="*/ 2690255 h 6858000"/>
              <a:gd name="connsiteX59" fmla="*/ 6292327 w 6568309"/>
              <a:gd name="connsiteY59" fmla="*/ 2695683 h 6858000"/>
              <a:gd name="connsiteX60" fmla="*/ 6284410 w 6568309"/>
              <a:gd name="connsiteY60" fmla="*/ 2713964 h 6858000"/>
              <a:gd name="connsiteX61" fmla="*/ 6280410 w 6568309"/>
              <a:gd name="connsiteY61" fmla="*/ 2730175 h 6858000"/>
              <a:gd name="connsiteX62" fmla="*/ 6288082 w 6568309"/>
              <a:gd name="connsiteY62" fmla="*/ 2763497 h 6858000"/>
              <a:gd name="connsiteX63" fmla="*/ 6260924 w 6568309"/>
              <a:gd name="connsiteY63" fmla="*/ 3051539 h 6858000"/>
              <a:gd name="connsiteX64" fmla="*/ 6210151 w 6568309"/>
              <a:gd name="connsiteY64" fmla="*/ 3335396 h 6858000"/>
              <a:gd name="connsiteX65" fmla="*/ 6212034 w 6568309"/>
              <a:gd name="connsiteY65" fmla="*/ 3456509 h 6858000"/>
              <a:gd name="connsiteX66" fmla="*/ 6197490 w 6568309"/>
              <a:gd name="connsiteY66" fmla="*/ 3531827 h 6858000"/>
              <a:gd name="connsiteX67" fmla="*/ 6208018 w 6568309"/>
              <a:gd name="connsiteY67" fmla="*/ 3570877 h 6858000"/>
              <a:gd name="connsiteX68" fmla="*/ 6205920 w 6568309"/>
              <a:gd name="connsiteY68" fmla="*/ 3583849 h 6858000"/>
              <a:gd name="connsiteX69" fmla="*/ 6199616 w 6568309"/>
              <a:gd name="connsiteY69" fmla="*/ 3592763 h 6858000"/>
              <a:gd name="connsiteX70" fmla="*/ 6181288 w 6568309"/>
              <a:gd name="connsiteY70" fmla="*/ 3653485 h 6858000"/>
              <a:gd name="connsiteX71" fmla="*/ 6175963 w 6568309"/>
              <a:gd name="connsiteY71" fmla="*/ 3670528 h 6858000"/>
              <a:gd name="connsiteX72" fmla="*/ 6176722 w 6568309"/>
              <a:gd name="connsiteY72" fmla="*/ 3685990 h 6858000"/>
              <a:gd name="connsiteX73" fmla="*/ 6181549 w 6568309"/>
              <a:gd name="connsiteY73" fmla="*/ 3690283 h 6858000"/>
              <a:gd name="connsiteX74" fmla="*/ 6179476 w 6568309"/>
              <a:gd name="connsiteY74" fmla="*/ 3699787 h 6858000"/>
              <a:gd name="connsiteX75" fmla="*/ 6180040 w 6568309"/>
              <a:gd name="connsiteY75" fmla="*/ 3702486 h 6858000"/>
              <a:gd name="connsiteX76" fmla="*/ 6182155 w 6568309"/>
              <a:gd name="connsiteY76" fmla="*/ 3717784 h 6858000"/>
              <a:gd name="connsiteX77" fmla="*/ 6158980 w 6568309"/>
              <a:gd name="connsiteY77" fmla="*/ 3746229 h 6858000"/>
              <a:gd name="connsiteX78" fmla="*/ 6096049 w 6568309"/>
              <a:gd name="connsiteY78" fmla="*/ 3924910 h 6858000"/>
              <a:gd name="connsiteX79" fmla="*/ 6069712 w 6568309"/>
              <a:gd name="connsiteY79" fmla="*/ 3989353 h 6858000"/>
              <a:gd name="connsiteX80" fmla="*/ 6067330 w 6568309"/>
              <a:gd name="connsiteY80" fmla="*/ 4033899 h 6858000"/>
              <a:gd name="connsiteX81" fmla="*/ 6061081 w 6568309"/>
              <a:gd name="connsiteY81" fmla="*/ 4142250 h 6858000"/>
              <a:gd name="connsiteX82" fmla="*/ 6042858 w 6568309"/>
              <a:gd name="connsiteY82" fmla="*/ 4329442 h 6858000"/>
              <a:gd name="connsiteX83" fmla="*/ 6034182 w 6568309"/>
              <a:gd name="connsiteY83" fmla="*/ 4456184 h 6858000"/>
              <a:gd name="connsiteX84" fmla="*/ 6029178 w 6568309"/>
              <a:gd name="connsiteY84" fmla="*/ 4468478 h 6858000"/>
              <a:gd name="connsiteX85" fmla="*/ 6029974 w 6568309"/>
              <a:gd name="connsiteY85" fmla="*/ 4469862 h 6858000"/>
              <a:gd name="connsiteX86" fmla="*/ 6028340 w 6568309"/>
              <a:gd name="connsiteY86" fmla="*/ 4483797 h 6858000"/>
              <a:gd name="connsiteX87" fmla="*/ 6025168 w 6568309"/>
              <a:gd name="connsiteY87" fmla="*/ 4487091 h 6858000"/>
              <a:gd name="connsiteX88" fmla="*/ 6023164 w 6568309"/>
              <a:gd name="connsiteY88" fmla="*/ 4496728 h 6858000"/>
              <a:gd name="connsiteX89" fmla="*/ 6016839 w 6568309"/>
              <a:gd name="connsiteY89" fmla="*/ 4515918 h 6858000"/>
              <a:gd name="connsiteX90" fmla="*/ 6017886 w 6568309"/>
              <a:gd name="connsiteY90" fmla="*/ 4519316 h 6858000"/>
              <a:gd name="connsiteX91" fmla="*/ 6011819 w 6568309"/>
              <a:gd name="connsiteY91" fmla="*/ 4547957 h 6858000"/>
              <a:gd name="connsiteX92" fmla="*/ 6012791 w 6568309"/>
              <a:gd name="connsiteY92" fmla="*/ 4548262 h 6858000"/>
              <a:gd name="connsiteX93" fmla="*/ 6015703 w 6568309"/>
              <a:gd name="connsiteY93" fmla="*/ 4555939 h 6858000"/>
              <a:gd name="connsiteX94" fmla="*/ 6018854 w 6568309"/>
              <a:gd name="connsiteY94" fmla="*/ 4570815 h 6858000"/>
              <a:gd name="connsiteX95" fmla="*/ 6033000 w 6568309"/>
              <a:gd name="connsiteY95" fmla="*/ 4633846 h 6858000"/>
              <a:gd name="connsiteX96" fmla="*/ 6032325 w 6568309"/>
              <a:gd name="connsiteY96" fmla="*/ 4639816 h 6858000"/>
              <a:gd name="connsiteX97" fmla="*/ 6032549 w 6568309"/>
              <a:gd name="connsiteY97" fmla="*/ 4639923 h 6858000"/>
              <a:gd name="connsiteX98" fmla="*/ 6032309 w 6568309"/>
              <a:gd name="connsiteY98" fmla="*/ 4646192 h 6858000"/>
              <a:gd name="connsiteX99" fmla="*/ 6031095 w 6568309"/>
              <a:gd name="connsiteY99" fmla="*/ 4650706 h 6858000"/>
              <a:gd name="connsiteX100" fmla="*/ 6029786 w 6568309"/>
              <a:gd name="connsiteY100" fmla="*/ 4662290 h 6858000"/>
              <a:gd name="connsiteX101" fmla="*/ 6030911 w 6568309"/>
              <a:gd name="connsiteY101" fmla="*/ 4666180 h 6858000"/>
              <a:gd name="connsiteX102" fmla="*/ 6033630 w 6568309"/>
              <a:gd name="connsiteY102" fmla="*/ 4667585 h 6858000"/>
              <a:gd name="connsiteX103" fmla="*/ 6033189 w 6568309"/>
              <a:gd name="connsiteY103" fmla="*/ 4668660 h 6858000"/>
              <a:gd name="connsiteX104" fmla="*/ 6038764 w 6568309"/>
              <a:gd name="connsiteY104" fmla="*/ 4689807 h 6858000"/>
              <a:gd name="connsiteX105" fmla="*/ 6042217 w 6568309"/>
              <a:gd name="connsiteY105" fmla="*/ 4737890 h 6858000"/>
              <a:gd name="connsiteX106" fmla="*/ 6040543 w 6568309"/>
              <a:gd name="connsiteY106" fmla="*/ 4765657 h 6858000"/>
              <a:gd name="connsiteX107" fmla="*/ 6039956 w 6568309"/>
              <a:gd name="connsiteY107" fmla="*/ 4841463 h 6858000"/>
              <a:gd name="connsiteX108" fmla="*/ 6057123 w 6568309"/>
              <a:gd name="connsiteY108" fmla="*/ 4969863 h 6858000"/>
              <a:gd name="connsiteX109" fmla="*/ 6055039 w 6568309"/>
              <a:gd name="connsiteY109" fmla="*/ 4974028 h 6858000"/>
              <a:gd name="connsiteX110" fmla="*/ 6053462 w 6568309"/>
              <a:gd name="connsiteY110" fmla="*/ 4980318 h 6858000"/>
              <a:gd name="connsiteX111" fmla="*/ 6053643 w 6568309"/>
              <a:gd name="connsiteY111" fmla="*/ 4980501 h 6858000"/>
              <a:gd name="connsiteX112" fmla="*/ 6051733 w 6568309"/>
              <a:gd name="connsiteY112" fmla="*/ 4986338 h 6858000"/>
              <a:gd name="connsiteX113" fmla="*/ 6049602 w 6568309"/>
              <a:gd name="connsiteY113" fmla="*/ 4991296 h 6858000"/>
              <a:gd name="connsiteX114" fmla="*/ 6075165 w 6568309"/>
              <a:gd name="connsiteY114" fmla="*/ 5076895 h 6858000"/>
              <a:gd name="connsiteX115" fmla="*/ 6073751 w 6568309"/>
              <a:gd name="connsiteY115" fmla="*/ 5081568 h 6858000"/>
              <a:gd name="connsiteX116" fmla="*/ 6073150 w 6568309"/>
              <a:gd name="connsiteY116" fmla="*/ 5088173 h 6858000"/>
              <a:gd name="connsiteX117" fmla="*/ 6073355 w 6568309"/>
              <a:gd name="connsiteY117" fmla="*/ 5088300 h 6858000"/>
              <a:gd name="connsiteX118" fmla="*/ 6072362 w 6568309"/>
              <a:gd name="connsiteY118" fmla="*/ 5094558 h 6858000"/>
              <a:gd name="connsiteX119" fmla="*/ 6064726 w 6568309"/>
              <a:gd name="connsiteY119" fmla="*/ 5125620 h 6858000"/>
              <a:gd name="connsiteX120" fmla="*/ 6065415 w 6568309"/>
              <a:gd name="connsiteY120" fmla="*/ 5268004 h 6858000"/>
              <a:gd name="connsiteX121" fmla="*/ 6066081 w 6568309"/>
              <a:gd name="connsiteY121" fmla="*/ 5269530 h 6858000"/>
              <a:gd name="connsiteX122" fmla="*/ 6043407 w 6568309"/>
              <a:gd name="connsiteY122" fmla="*/ 5390941 h 6858000"/>
              <a:gd name="connsiteX123" fmla="*/ 6025377 w 6568309"/>
              <a:gd name="connsiteY123" fmla="*/ 5539927 h 6858000"/>
              <a:gd name="connsiteX124" fmla="*/ 6010052 w 6568309"/>
              <a:gd name="connsiteY124" fmla="*/ 5791594 h 6858000"/>
              <a:gd name="connsiteX125" fmla="*/ 5994220 w 6568309"/>
              <a:gd name="connsiteY125" fmla="*/ 5855206 h 6858000"/>
              <a:gd name="connsiteX126" fmla="*/ 5982580 w 6568309"/>
              <a:gd name="connsiteY126" fmla="*/ 5873582 h 6858000"/>
              <a:gd name="connsiteX127" fmla="*/ 5983608 w 6568309"/>
              <a:gd name="connsiteY127" fmla="*/ 5876037 h 6858000"/>
              <a:gd name="connsiteX128" fmla="*/ 5983535 w 6568309"/>
              <a:gd name="connsiteY128" fmla="*/ 5886534 h 6858000"/>
              <a:gd name="connsiteX129" fmla="*/ 5988737 w 6568309"/>
              <a:gd name="connsiteY129" fmla="*/ 5888644 h 6858000"/>
              <a:gd name="connsiteX130" fmla="*/ 5992371 w 6568309"/>
              <a:gd name="connsiteY130" fmla="*/ 5903832 h 6858000"/>
              <a:gd name="connsiteX131" fmla="*/ 5990780 w 6568309"/>
              <a:gd name="connsiteY131" fmla="*/ 5923391 h 6858000"/>
              <a:gd name="connsiteX132" fmla="*/ 5993870 w 6568309"/>
              <a:gd name="connsiteY132" fmla="*/ 6013205 h 6858000"/>
              <a:gd name="connsiteX133" fmla="*/ 5997673 w 6568309"/>
              <a:gd name="connsiteY133" fmla="*/ 6074018 h 6858000"/>
              <a:gd name="connsiteX134" fmla="*/ 6014840 w 6568309"/>
              <a:gd name="connsiteY134" fmla="*/ 6130837 h 6858000"/>
              <a:gd name="connsiteX135" fmla="*/ 6010704 w 6568309"/>
              <a:gd name="connsiteY135" fmla="*/ 6152982 h 6858000"/>
              <a:gd name="connsiteX136" fmla="*/ 6038294 w 6568309"/>
              <a:gd name="connsiteY136" fmla="*/ 6221100 h 6858000"/>
              <a:gd name="connsiteX137" fmla="*/ 6052331 w 6568309"/>
              <a:gd name="connsiteY137" fmla="*/ 6287550 h 6858000"/>
              <a:gd name="connsiteX138" fmla="*/ 6074143 w 6568309"/>
              <a:gd name="connsiteY138" fmla="*/ 6401595 h 6858000"/>
              <a:gd name="connsiteX139" fmla="*/ 6060199 w 6568309"/>
              <a:gd name="connsiteY139" fmla="*/ 6487110 h 6858000"/>
              <a:gd name="connsiteX140" fmla="*/ 6081156 w 6568309"/>
              <a:gd name="connsiteY140" fmla="*/ 6588589 h 6858000"/>
              <a:gd name="connsiteX141" fmla="*/ 6114944 w 6568309"/>
              <a:gd name="connsiteY141" fmla="*/ 6769963 h 6858000"/>
              <a:gd name="connsiteX142" fmla="*/ 6128950 w 6568309"/>
              <a:gd name="connsiteY142" fmla="*/ 6835814 h 6858000"/>
              <a:gd name="connsiteX143" fmla="*/ 6132536 w 6568309"/>
              <a:gd name="connsiteY143" fmla="*/ 6858000 h 6858000"/>
              <a:gd name="connsiteX144" fmla="*/ 4789511 w 6568309"/>
              <a:gd name="connsiteY144" fmla="*/ 6858000 h 6858000"/>
              <a:gd name="connsiteX145" fmla="*/ 1866294 w 6568309"/>
              <a:gd name="connsiteY145" fmla="*/ 6858000 h 6858000"/>
              <a:gd name="connsiteX146" fmla="*/ 1705866 w 6568309"/>
              <a:gd name="connsiteY146" fmla="*/ 6858000 h 6858000"/>
              <a:gd name="connsiteX147" fmla="*/ 1343025 w 6568309"/>
              <a:gd name="connsiteY147" fmla="*/ 6858000 h 6858000"/>
              <a:gd name="connsiteX148" fmla="*/ 523269 w 6568309"/>
              <a:gd name="connsiteY148" fmla="*/ 6858000 h 6858000"/>
              <a:gd name="connsiteX149" fmla="*/ 362841 w 6568309"/>
              <a:gd name="connsiteY149" fmla="*/ 6858000 h 6858000"/>
              <a:gd name="connsiteX150" fmla="*/ 0 w 6568309"/>
              <a:gd name="connsiteY15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568309" h="6858000">
                <a:moveTo>
                  <a:pt x="0" y="0"/>
                </a:moveTo>
                <a:lnTo>
                  <a:pt x="362841" y="0"/>
                </a:lnTo>
                <a:lnTo>
                  <a:pt x="523269" y="0"/>
                </a:lnTo>
                <a:lnTo>
                  <a:pt x="1343025" y="0"/>
                </a:lnTo>
                <a:lnTo>
                  <a:pt x="1705866" y="0"/>
                </a:lnTo>
                <a:lnTo>
                  <a:pt x="1866294" y="0"/>
                </a:lnTo>
                <a:lnTo>
                  <a:pt x="5225154" y="0"/>
                </a:lnTo>
                <a:lnTo>
                  <a:pt x="6568179" y="0"/>
                </a:lnTo>
                <a:lnTo>
                  <a:pt x="6568309" y="1"/>
                </a:lnTo>
                <a:lnTo>
                  <a:pt x="6562951" y="30700"/>
                </a:lnTo>
                <a:cubicBezTo>
                  <a:pt x="6559126" y="84364"/>
                  <a:pt x="6548218" y="241149"/>
                  <a:pt x="6547446" y="310025"/>
                </a:cubicBezTo>
                <a:cubicBezTo>
                  <a:pt x="6550151" y="367544"/>
                  <a:pt x="6557712" y="408251"/>
                  <a:pt x="6558316" y="443960"/>
                </a:cubicBezTo>
                <a:cubicBezTo>
                  <a:pt x="6555224" y="499397"/>
                  <a:pt x="6534767" y="604434"/>
                  <a:pt x="6528896" y="642659"/>
                </a:cubicBezTo>
                <a:cubicBezTo>
                  <a:pt x="6535204" y="657287"/>
                  <a:pt x="6515365" y="658191"/>
                  <a:pt x="6523095" y="673307"/>
                </a:cubicBezTo>
                <a:cubicBezTo>
                  <a:pt x="6523388" y="693769"/>
                  <a:pt x="6506868" y="797295"/>
                  <a:pt x="6496169" y="839641"/>
                </a:cubicBezTo>
                <a:cubicBezTo>
                  <a:pt x="6484119" y="887148"/>
                  <a:pt x="6457817" y="937731"/>
                  <a:pt x="6450789" y="958357"/>
                </a:cubicBezTo>
                <a:cubicBezTo>
                  <a:pt x="6443760" y="978983"/>
                  <a:pt x="6459217" y="936930"/>
                  <a:pt x="6453996" y="963398"/>
                </a:cubicBezTo>
                <a:cubicBezTo>
                  <a:pt x="6448777" y="989867"/>
                  <a:pt x="6425575" y="1087010"/>
                  <a:pt x="6419467" y="1117169"/>
                </a:cubicBezTo>
                <a:cubicBezTo>
                  <a:pt x="6431540" y="1118586"/>
                  <a:pt x="6409651" y="1135372"/>
                  <a:pt x="6417348" y="1144352"/>
                </a:cubicBezTo>
                <a:cubicBezTo>
                  <a:pt x="6424109" y="1150681"/>
                  <a:pt x="6419047" y="1157251"/>
                  <a:pt x="6418473" y="1164484"/>
                </a:cubicBezTo>
                <a:cubicBezTo>
                  <a:pt x="6423767" y="1173524"/>
                  <a:pt x="6413947" y="1205209"/>
                  <a:pt x="6406979" y="1213829"/>
                </a:cubicBezTo>
                <a:cubicBezTo>
                  <a:pt x="6382818" y="1235037"/>
                  <a:pt x="6400452" y="1277327"/>
                  <a:pt x="6381928" y="1294823"/>
                </a:cubicBezTo>
                <a:cubicBezTo>
                  <a:pt x="6379195" y="1300845"/>
                  <a:pt x="6378069" y="1306615"/>
                  <a:pt x="6377948" y="1312193"/>
                </a:cubicBezTo>
                <a:lnTo>
                  <a:pt x="6379894" y="1327626"/>
                </a:lnTo>
                <a:lnTo>
                  <a:pt x="6385024" y="1331644"/>
                </a:lnTo>
                <a:lnTo>
                  <a:pt x="6383696" y="1341276"/>
                </a:lnTo>
                <a:cubicBezTo>
                  <a:pt x="6383952" y="1342166"/>
                  <a:pt x="6384208" y="1343055"/>
                  <a:pt x="6384464" y="1343945"/>
                </a:cubicBezTo>
                <a:cubicBezTo>
                  <a:pt x="6385957" y="1349040"/>
                  <a:pt x="6387253" y="1354080"/>
                  <a:pt x="6387748" y="1359134"/>
                </a:cubicBezTo>
                <a:cubicBezTo>
                  <a:pt x="6384363" y="1373109"/>
                  <a:pt x="6372802" y="1397612"/>
                  <a:pt x="6364157" y="1427803"/>
                </a:cubicBezTo>
                <a:cubicBezTo>
                  <a:pt x="6348141" y="1460349"/>
                  <a:pt x="6348362" y="1505076"/>
                  <a:pt x="6335874" y="1540278"/>
                </a:cubicBezTo>
                <a:lnTo>
                  <a:pt x="6331892" y="1547262"/>
                </a:lnTo>
                <a:lnTo>
                  <a:pt x="6332744" y="1577056"/>
                </a:lnTo>
                <a:cubicBezTo>
                  <a:pt x="6335859" y="1582205"/>
                  <a:pt x="6336674" y="1589568"/>
                  <a:pt x="6333604" y="1595898"/>
                </a:cubicBezTo>
                <a:lnTo>
                  <a:pt x="6324749" y="1703726"/>
                </a:lnTo>
                <a:cubicBezTo>
                  <a:pt x="6324080" y="1739332"/>
                  <a:pt x="6318019" y="1754453"/>
                  <a:pt x="6329594" y="1809535"/>
                </a:cubicBezTo>
                <a:cubicBezTo>
                  <a:pt x="6344930" y="1868036"/>
                  <a:pt x="6323725" y="1952670"/>
                  <a:pt x="6329062" y="2018310"/>
                </a:cubicBezTo>
                <a:cubicBezTo>
                  <a:pt x="6308075" y="2053162"/>
                  <a:pt x="6326925" y="2034561"/>
                  <a:pt x="6321735" y="2071355"/>
                </a:cubicBezTo>
                <a:lnTo>
                  <a:pt x="6322678" y="2141166"/>
                </a:lnTo>
                <a:lnTo>
                  <a:pt x="6321340" y="2154548"/>
                </a:lnTo>
                <a:lnTo>
                  <a:pt x="6316582" y="2158153"/>
                </a:lnTo>
                <a:lnTo>
                  <a:pt x="6311428" y="2178174"/>
                </a:lnTo>
                <a:cubicBezTo>
                  <a:pt x="6310177" y="2185696"/>
                  <a:pt x="6309622" y="2193828"/>
                  <a:pt x="6310192" y="2202858"/>
                </a:cubicBezTo>
                <a:cubicBezTo>
                  <a:pt x="6319667" y="2232772"/>
                  <a:pt x="6296459" y="2283357"/>
                  <a:pt x="6309211" y="2320214"/>
                </a:cubicBezTo>
                <a:cubicBezTo>
                  <a:pt x="6307537" y="2355906"/>
                  <a:pt x="6302490" y="2394678"/>
                  <a:pt x="6300151" y="2417011"/>
                </a:cubicBezTo>
                <a:cubicBezTo>
                  <a:pt x="6292303" y="2426377"/>
                  <a:pt x="6304439" y="2456509"/>
                  <a:pt x="6295176" y="2454207"/>
                </a:cubicBezTo>
                <a:cubicBezTo>
                  <a:pt x="6299335" y="2464947"/>
                  <a:pt x="6297305" y="2476105"/>
                  <a:pt x="6293727" y="2487203"/>
                </a:cubicBezTo>
                <a:lnTo>
                  <a:pt x="6285477" y="2512282"/>
                </a:lnTo>
                <a:cubicBezTo>
                  <a:pt x="6285720" y="2512961"/>
                  <a:pt x="6285962" y="2513640"/>
                  <a:pt x="6286205" y="2514318"/>
                </a:cubicBezTo>
                <a:cubicBezTo>
                  <a:pt x="6292347" y="2534324"/>
                  <a:pt x="6298487" y="2554328"/>
                  <a:pt x="6304629" y="2574334"/>
                </a:cubicBezTo>
                <a:lnTo>
                  <a:pt x="6303842" y="2579877"/>
                </a:lnTo>
                <a:cubicBezTo>
                  <a:pt x="6303729" y="2585644"/>
                  <a:pt x="6304006" y="2603388"/>
                  <a:pt x="6303953" y="2608928"/>
                </a:cubicBezTo>
                <a:lnTo>
                  <a:pt x="6303530" y="2613111"/>
                </a:lnTo>
                <a:lnTo>
                  <a:pt x="6297474" y="2621996"/>
                </a:lnTo>
                <a:lnTo>
                  <a:pt x="6299263" y="2634265"/>
                </a:lnTo>
                <a:lnTo>
                  <a:pt x="6293065" y="2647237"/>
                </a:lnTo>
                <a:cubicBezTo>
                  <a:pt x="6294685" y="2648158"/>
                  <a:pt x="6296180" y="2649356"/>
                  <a:pt x="6297496" y="2650786"/>
                </a:cubicBezTo>
                <a:lnTo>
                  <a:pt x="6301708" y="2661993"/>
                </a:lnTo>
                <a:lnTo>
                  <a:pt x="6295884" y="2670949"/>
                </a:lnTo>
                <a:cubicBezTo>
                  <a:pt x="6304913" y="2672007"/>
                  <a:pt x="6294429" y="2681695"/>
                  <a:pt x="6291714" y="2690255"/>
                </a:cubicBezTo>
                <a:lnTo>
                  <a:pt x="6292327" y="2695683"/>
                </a:lnTo>
                <a:lnTo>
                  <a:pt x="6284410" y="2713964"/>
                </a:lnTo>
                <a:lnTo>
                  <a:pt x="6280410" y="2730175"/>
                </a:lnTo>
                <a:lnTo>
                  <a:pt x="6288082" y="2763497"/>
                </a:lnTo>
                <a:lnTo>
                  <a:pt x="6260924" y="3051539"/>
                </a:lnTo>
                <a:cubicBezTo>
                  <a:pt x="6251455" y="3165645"/>
                  <a:pt x="6222174" y="3216611"/>
                  <a:pt x="6210151" y="3335396"/>
                </a:cubicBezTo>
                <a:lnTo>
                  <a:pt x="6212034" y="3456509"/>
                </a:lnTo>
                <a:lnTo>
                  <a:pt x="6197490" y="3531827"/>
                </a:lnTo>
                <a:lnTo>
                  <a:pt x="6208018" y="3570877"/>
                </a:lnTo>
                <a:lnTo>
                  <a:pt x="6205920" y="3583849"/>
                </a:lnTo>
                <a:lnTo>
                  <a:pt x="6199616" y="3592763"/>
                </a:lnTo>
                <a:cubicBezTo>
                  <a:pt x="6191839" y="3613948"/>
                  <a:pt x="6196204" y="3641245"/>
                  <a:pt x="6181288" y="3653485"/>
                </a:cubicBezTo>
                <a:cubicBezTo>
                  <a:pt x="6178087" y="3659316"/>
                  <a:pt x="6176516" y="3664985"/>
                  <a:pt x="6175963" y="3670528"/>
                </a:cubicBezTo>
                <a:lnTo>
                  <a:pt x="6176722" y="3685990"/>
                </a:lnTo>
                <a:lnTo>
                  <a:pt x="6181549" y="3690283"/>
                </a:lnTo>
                <a:lnTo>
                  <a:pt x="6179476" y="3699787"/>
                </a:lnTo>
                <a:cubicBezTo>
                  <a:pt x="6179664" y="3700686"/>
                  <a:pt x="6179852" y="3701586"/>
                  <a:pt x="6180040" y="3702486"/>
                </a:cubicBezTo>
                <a:cubicBezTo>
                  <a:pt x="6181140" y="3707637"/>
                  <a:pt x="6182047" y="3712728"/>
                  <a:pt x="6182155" y="3717784"/>
                </a:cubicBezTo>
                <a:cubicBezTo>
                  <a:pt x="6156678" y="3711701"/>
                  <a:pt x="6178864" y="3759789"/>
                  <a:pt x="6158980" y="3746229"/>
                </a:cubicBezTo>
                <a:cubicBezTo>
                  <a:pt x="6144630" y="3780750"/>
                  <a:pt x="6117520" y="3867558"/>
                  <a:pt x="6096049" y="3924910"/>
                </a:cubicBezTo>
                <a:lnTo>
                  <a:pt x="6069712" y="3989353"/>
                </a:lnTo>
                <a:lnTo>
                  <a:pt x="6067330" y="4033899"/>
                </a:lnTo>
                <a:cubicBezTo>
                  <a:pt x="6065506" y="4070470"/>
                  <a:pt x="6063599" y="4110146"/>
                  <a:pt x="6061081" y="4142250"/>
                </a:cubicBezTo>
                <a:cubicBezTo>
                  <a:pt x="6055260" y="4200007"/>
                  <a:pt x="6045907" y="4278998"/>
                  <a:pt x="6042858" y="4329442"/>
                </a:cubicBezTo>
                <a:cubicBezTo>
                  <a:pt x="6038376" y="4381764"/>
                  <a:pt x="6036461" y="4433012"/>
                  <a:pt x="6034182" y="4456184"/>
                </a:cubicBezTo>
                <a:lnTo>
                  <a:pt x="6029178" y="4468478"/>
                </a:lnTo>
                <a:lnTo>
                  <a:pt x="6029974" y="4469862"/>
                </a:lnTo>
                <a:cubicBezTo>
                  <a:pt x="6031287" y="4476321"/>
                  <a:pt x="6030316" y="4480555"/>
                  <a:pt x="6028340" y="4483797"/>
                </a:cubicBezTo>
                <a:lnTo>
                  <a:pt x="6025168" y="4487091"/>
                </a:lnTo>
                <a:lnTo>
                  <a:pt x="6023164" y="4496728"/>
                </a:lnTo>
                <a:lnTo>
                  <a:pt x="6016839" y="4515918"/>
                </a:lnTo>
                <a:cubicBezTo>
                  <a:pt x="6017189" y="4517049"/>
                  <a:pt x="6017537" y="4518182"/>
                  <a:pt x="6017886" y="4519316"/>
                </a:cubicBezTo>
                <a:lnTo>
                  <a:pt x="6011819" y="4547957"/>
                </a:lnTo>
                <a:lnTo>
                  <a:pt x="6012791" y="4548262"/>
                </a:lnTo>
                <a:cubicBezTo>
                  <a:pt x="6014837" y="4549595"/>
                  <a:pt x="6016087" y="4551811"/>
                  <a:pt x="6015703" y="4555939"/>
                </a:cubicBezTo>
                <a:cubicBezTo>
                  <a:pt x="6031790" y="4548276"/>
                  <a:pt x="6021405" y="4557977"/>
                  <a:pt x="6018854" y="4570815"/>
                </a:cubicBezTo>
                <a:cubicBezTo>
                  <a:pt x="6021736" y="4583801"/>
                  <a:pt x="6030754" y="4622347"/>
                  <a:pt x="6033000" y="4633846"/>
                </a:cubicBezTo>
                <a:lnTo>
                  <a:pt x="6032325" y="4639816"/>
                </a:lnTo>
                <a:lnTo>
                  <a:pt x="6032549" y="4639923"/>
                </a:lnTo>
                <a:cubicBezTo>
                  <a:pt x="6032911" y="4641190"/>
                  <a:pt x="6032878" y="4643141"/>
                  <a:pt x="6032309" y="4646192"/>
                </a:cubicBezTo>
                <a:lnTo>
                  <a:pt x="6031095" y="4650706"/>
                </a:lnTo>
                <a:lnTo>
                  <a:pt x="6029786" y="4662290"/>
                </a:lnTo>
                <a:cubicBezTo>
                  <a:pt x="6030161" y="4663587"/>
                  <a:pt x="6030536" y="4664883"/>
                  <a:pt x="6030911" y="4666180"/>
                </a:cubicBezTo>
                <a:lnTo>
                  <a:pt x="6033630" y="4667585"/>
                </a:lnTo>
                <a:lnTo>
                  <a:pt x="6033189" y="4668660"/>
                </a:lnTo>
                <a:cubicBezTo>
                  <a:pt x="6027286" y="4676831"/>
                  <a:pt x="6019767" y="4679345"/>
                  <a:pt x="6038764" y="4689807"/>
                </a:cubicBezTo>
                <a:cubicBezTo>
                  <a:pt x="6028616" y="4708535"/>
                  <a:pt x="6040474" y="4712235"/>
                  <a:pt x="6042217" y="4737890"/>
                </a:cubicBezTo>
                <a:cubicBezTo>
                  <a:pt x="6033362" y="4748600"/>
                  <a:pt x="6035273" y="4757223"/>
                  <a:pt x="6040543" y="4765657"/>
                </a:cubicBezTo>
                <a:cubicBezTo>
                  <a:pt x="6034416" y="4790618"/>
                  <a:pt x="6040696" y="4813399"/>
                  <a:pt x="6039956" y="4841463"/>
                </a:cubicBezTo>
                <a:lnTo>
                  <a:pt x="6057123" y="4969863"/>
                </a:lnTo>
                <a:lnTo>
                  <a:pt x="6055039" y="4974028"/>
                </a:lnTo>
                <a:cubicBezTo>
                  <a:pt x="6053860" y="4976933"/>
                  <a:pt x="6053409" y="4978909"/>
                  <a:pt x="6053462" y="4980318"/>
                </a:cubicBezTo>
                <a:lnTo>
                  <a:pt x="6053643" y="4980501"/>
                </a:lnTo>
                <a:lnTo>
                  <a:pt x="6051733" y="4986338"/>
                </a:lnTo>
                <a:lnTo>
                  <a:pt x="6049602" y="4991296"/>
                </a:lnTo>
                <a:cubicBezTo>
                  <a:pt x="6058123" y="5019829"/>
                  <a:pt x="6066643" y="5048361"/>
                  <a:pt x="6075165" y="5076895"/>
                </a:cubicBezTo>
                <a:lnTo>
                  <a:pt x="6073751" y="5081568"/>
                </a:lnTo>
                <a:cubicBezTo>
                  <a:pt x="6073034" y="5084748"/>
                  <a:pt x="6072888" y="5086810"/>
                  <a:pt x="6073150" y="5088173"/>
                </a:cubicBezTo>
                <a:lnTo>
                  <a:pt x="6073355" y="5088300"/>
                </a:lnTo>
                <a:lnTo>
                  <a:pt x="6072362" y="5094558"/>
                </a:lnTo>
                <a:cubicBezTo>
                  <a:pt x="6070184" y="5105196"/>
                  <a:pt x="6067588" y="5115626"/>
                  <a:pt x="6064726" y="5125620"/>
                </a:cubicBezTo>
                <a:cubicBezTo>
                  <a:pt x="6063568" y="5154527"/>
                  <a:pt x="6065189" y="5244020"/>
                  <a:pt x="6065415" y="5268004"/>
                </a:cubicBezTo>
                <a:cubicBezTo>
                  <a:pt x="6065637" y="5268513"/>
                  <a:pt x="6065860" y="5269021"/>
                  <a:pt x="6066081" y="5269530"/>
                </a:cubicBezTo>
                <a:lnTo>
                  <a:pt x="6043407" y="5390941"/>
                </a:lnTo>
                <a:cubicBezTo>
                  <a:pt x="6032545" y="5438194"/>
                  <a:pt x="6020942" y="5465286"/>
                  <a:pt x="6025377" y="5539927"/>
                </a:cubicBezTo>
                <a:cubicBezTo>
                  <a:pt x="6019787" y="5610775"/>
                  <a:pt x="6013913" y="5740573"/>
                  <a:pt x="6010052" y="5791594"/>
                </a:cubicBezTo>
                <a:cubicBezTo>
                  <a:pt x="5989401" y="5787060"/>
                  <a:pt x="6018524" y="5849672"/>
                  <a:pt x="5994220" y="5855206"/>
                </a:cubicBezTo>
                <a:cubicBezTo>
                  <a:pt x="5995282" y="5860240"/>
                  <a:pt x="5980598" y="5868910"/>
                  <a:pt x="5982580" y="5873582"/>
                </a:cubicBezTo>
                <a:cubicBezTo>
                  <a:pt x="5982922" y="5874401"/>
                  <a:pt x="5983265" y="5875218"/>
                  <a:pt x="5983608" y="5876037"/>
                </a:cubicBezTo>
                <a:lnTo>
                  <a:pt x="5983535" y="5886534"/>
                </a:lnTo>
                <a:lnTo>
                  <a:pt x="5988737" y="5888644"/>
                </a:lnTo>
                <a:cubicBezTo>
                  <a:pt x="5989948" y="5893707"/>
                  <a:pt x="5991159" y="5898769"/>
                  <a:pt x="5992371" y="5903832"/>
                </a:cubicBezTo>
                <a:cubicBezTo>
                  <a:pt x="5992924" y="5909651"/>
                  <a:pt x="5992578" y="5916068"/>
                  <a:pt x="5990780" y="5923391"/>
                </a:cubicBezTo>
                <a:cubicBezTo>
                  <a:pt x="5975822" y="5948880"/>
                  <a:pt x="6013580" y="5981626"/>
                  <a:pt x="5993870" y="6013205"/>
                </a:cubicBezTo>
                <a:cubicBezTo>
                  <a:pt x="5988486" y="6024901"/>
                  <a:pt x="5991718" y="6066777"/>
                  <a:pt x="5997673" y="6074018"/>
                </a:cubicBezTo>
                <a:cubicBezTo>
                  <a:pt x="5998007" y="6081731"/>
                  <a:pt x="6007861" y="6126985"/>
                  <a:pt x="6014840" y="6130837"/>
                </a:cubicBezTo>
                <a:cubicBezTo>
                  <a:pt x="6022998" y="6137057"/>
                  <a:pt x="5999420" y="6156330"/>
                  <a:pt x="6010704" y="6152982"/>
                </a:cubicBezTo>
                <a:cubicBezTo>
                  <a:pt x="6008682" y="6186619"/>
                  <a:pt x="6039938" y="6191636"/>
                  <a:pt x="6038294" y="6221100"/>
                </a:cubicBezTo>
                <a:cubicBezTo>
                  <a:pt x="6039643" y="6222126"/>
                  <a:pt x="6046356" y="6257468"/>
                  <a:pt x="6052331" y="6287550"/>
                </a:cubicBezTo>
                <a:cubicBezTo>
                  <a:pt x="6058307" y="6317632"/>
                  <a:pt x="6082079" y="6391312"/>
                  <a:pt x="6074143" y="6401595"/>
                </a:cubicBezTo>
                <a:cubicBezTo>
                  <a:pt x="6074931" y="6423902"/>
                  <a:pt x="6059614" y="6432919"/>
                  <a:pt x="6060199" y="6487110"/>
                </a:cubicBezTo>
                <a:cubicBezTo>
                  <a:pt x="6075583" y="6574474"/>
                  <a:pt x="6076150" y="6553611"/>
                  <a:pt x="6081156" y="6588589"/>
                </a:cubicBezTo>
                <a:cubicBezTo>
                  <a:pt x="6102088" y="6637976"/>
                  <a:pt x="6067660" y="6687723"/>
                  <a:pt x="6114944" y="6769963"/>
                </a:cubicBezTo>
                <a:cubicBezTo>
                  <a:pt x="6130462" y="6819284"/>
                  <a:pt x="6119243" y="6817955"/>
                  <a:pt x="6128950" y="6835814"/>
                </a:cubicBezTo>
                <a:lnTo>
                  <a:pt x="6132536" y="6858000"/>
                </a:lnTo>
                <a:lnTo>
                  <a:pt x="4789511" y="6858000"/>
                </a:lnTo>
                <a:lnTo>
                  <a:pt x="1866294" y="6858000"/>
                </a:lnTo>
                <a:lnTo>
                  <a:pt x="1705866" y="6858000"/>
                </a:lnTo>
                <a:lnTo>
                  <a:pt x="1343025" y="6858000"/>
                </a:lnTo>
                <a:lnTo>
                  <a:pt x="523269" y="6858000"/>
                </a:lnTo>
                <a:lnTo>
                  <a:pt x="36284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ADA634-0892-CA6F-E3CF-C45C825B2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454" y="621473"/>
            <a:ext cx="4784796" cy="1330840"/>
          </a:xfrm>
        </p:spPr>
        <p:txBody>
          <a:bodyPr>
            <a:normAutofit/>
          </a:bodyPr>
          <a:lstStyle/>
          <a:p>
            <a:r>
              <a:rPr lang="en-US" dirty="0"/>
              <a:t>Current Situ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B258C-A118-7FC0-4811-7DD49273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466" y="1835217"/>
            <a:ext cx="3566244" cy="390858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900" b="0" i="0" dirty="0">
                <a:effectLst/>
                <a:latin typeface="Söhne"/>
              </a:rPr>
              <a:t>Conventional Business Intelligence (BI) tools and visTable are used to assess layou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 b="0" i="0" dirty="0">
                <a:effectLst/>
                <a:latin typeface="Söhne"/>
              </a:rPr>
              <a:t>Relying solely on data management visualizations for evaluation proves ineffectiv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 b="0" i="0" dirty="0">
                <a:effectLst/>
                <a:latin typeface="Söhne"/>
              </a:rPr>
              <a:t>Transitioning to Revit allowed the Factory Design team to generate custom, structured, spatial </a:t>
            </a:r>
            <a:r>
              <a:rPr lang="en-US" sz="1900" b="1" i="1" dirty="0">
                <a:effectLst/>
                <a:latin typeface="Söhne"/>
              </a:rPr>
              <a:t>data</a:t>
            </a:r>
            <a:r>
              <a:rPr lang="en-US" sz="1900" b="0" i="0" dirty="0">
                <a:effectLst/>
                <a:latin typeface="Söhne"/>
              </a:rPr>
              <a:t> from layou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 b="0" i="0" dirty="0">
                <a:effectLst/>
                <a:latin typeface="Söhne"/>
              </a:rPr>
              <a:t>This transition presented a valuable opportunity for the team to find a less</a:t>
            </a:r>
            <a:r>
              <a:rPr lang="en-US" sz="1900" dirty="0">
                <a:latin typeface="Söhne"/>
              </a:rPr>
              <a:t> time consuming and more accurate and efficient way to iterate.</a:t>
            </a:r>
            <a:endParaRPr lang="en-US" sz="1900" b="0" i="0" dirty="0">
              <a:effectLst/>
              <a:latin typeface="Söhne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131CE523-19AF-60D7-16EF-6C29774D07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8377081"/>
              </p:ext>
            </p:extLst>
          </p:nvPr>
        </p:nvGraphicFramePr>
        <p:xfrm>
          <a:off x="3906601" y="2401091"/>
          <a:ext cx="9517541" cy="4043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76737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1293230-B0F6-45B1-96D1-13D18E2429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7FF48C-AF46-4D52-998F-ED0BDDEEF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239000" cy="6858000"/>
          </a:xfrm>
          <a:custGeom>
            <a:avLst/>
            <a:gdLst>
              <a:gd name="connsiteX0" fmla="*/ 0 w 6568309"/>
              <a:gd name="connsiteY0" fmla="*/ 0 h 6858000"/>
              <a:gd name="connsiteX1" fmla="*/ 362841 w 6568309"/>
              <a:gd name="connsiteY1" fmla="*/ 0 h 6858000"/>
              <a:gd name="connsiteX2" fmla="*/ 523269 w 6568309"/>
              <a:gd name="connsiteY2" fmla="*/ 0 h 6858000"/>
              <a:gd name="connsiteX3" fmla="*/ 1343025 w 6568309"/>
              <a:gd name="connsiteY3" fmla="*/ 0 h 6858000"/>
              <a:gd name="connsiteX4" fmla="*/ 1705866 w 6568309"/>
              <a:gd name="connsiteY4" fmla="*/ 0 h 6858000"/>
              <a:gd name="connsiteX5" fmla="*/ 1866294 w 6568309"/>
              <a:gd name="connsiteY5" fmla="*/ 0 h 6858000"/>
              <a:gd name="connsiteX6" fmla="*/ 5225154 w 6568309"/>
              <a:gd name="connsiteY6" fmla="*/ 0 h 6858000"/>
              <a:gd name="connsiteX7" fmla="*/ 6568179 w 6568309"/>
              <a:gd name="connsiteY7" fmla="*/ 0 h 6858000"/>
              <a:gd name="connsiteX8" fmla="*/ 6568309 w 6568309"/>
              <a:gd name="connsiteY8" fmla="*/ 1 h 6858000"/>
              <a:gd name="connsiteX9" fmla="*/ 6562951 w 6568309"/>
              <a:gd name="connsiteY9" fmla="*/ 30700 h 6858000"/>
              <a:gd name="connsiteX10" fmla="*/ 6547446 w 6568309"/>
              <a:gd name="connsiteY10" fmla="*/ 310025 h 6858000"/>
              <a:gd name="connsiteX11" fmla="*/ 6558316 w 6568309"/>
              <a:gd name="connsiteY11" fmla="*/ 443960 h 6858000"/>
              <a:gd name="connsiteX12" fmla="*/ 6528896 w 6568309"/>
              <a:gd name="connsiteY12" fmla="*/ 642659 h 6858000"/>
              <a:gd name="connsiteX13" fmla="*/ 6523095 w 6568309"/>
              <a:gd name="connsiteY13" fmla="*/ 673307 h 6858000"/>
              <a:gd name="connsiteX14" fmla="*/ 6496169 w 6568309"/>
              <a:gd name="connsiteY14" fmla="*/ 839641 h 6858000"/>
              <a:gd name="connsiteX15" fmla="*/ 6450789 w 6568309"/>
              <a:gd name="connsiteY15" fmla="*/ 958357 h 6858000"/>
              <a:gd name="connsiteX16" fmla="*/ 6453996 w 6568309"/>
              <a:gd name="connsiteY16" fmla="*/ 963398 h 6858000"/>
              <a:gd name="connsiteX17" fmla="*/ 6419467 w 6568309"/>
              <a:gd name="connsiteY17" fmla="*/ 1117169 h 6858000"/>
              <a:gd name="connsiteX18" fmla="*/ 6417348 w 6568309"/>
              <a:gd name="connsiteY18" fmla="*/ 1144352 h 6858000"/>
              <a:gd name="connsiteX19" fmla="*/ 6418473 w 6568309"/>
              <a:gd name="connsiteY19" fmla="*/ 1164484 h 6858000"/>
              <a:gd name="connsiteX20" fmla="*/ 6406979 w 6568309"/>
              <a:gd name="connsiteY20" fmla="*/ 1213829 h 6858000"/>
              <a:gd name="connsiteX21" fmla="*/ 6381928 w 6568309"/>
              <a:gd name="connsiteY21" fmla="*/ 1294823 h 6858000"/>
              <a:gd name="connsiteX22" fmla="*/ 6377948 w 6568309"/>
              <a:gd name="connsiteY22" fmla="*/ 1312193 h 6858000"/>
              <a:gd name="connsiteX23" fmla="*/ 6379894 w 6568309"/>
              <a:gd name="connsiteY23" fmla="*/ 1327626 h 6858000"/>
              <a:gd name="connsiteX24" fmla="*/ 6385024 w 6568309"/>
              <a:gd name="connsiteY24" fmla="*/ 1331644 h 6858000"/>
              <a:gd name="connsiteX25" fmla="*/ 6383696 w 6568309"/>
              <a:gd name="connsiteY25" fmla="*/ 1341276 h 6858000"/>
              <a:gd name="connsiteX26" fmla="*/ 6384464 w 6568309"/>
              <a:gd name="connsiteY26" fmla="*/ 1343945 h 6858000"/>
              <a:gd name="connsiteX27" fmla="*/ 6387748 w 6568309"/>
              <a:gd name="connsiteY27" fmla="*/ 1359134 h 6858000"/>
              <a:gd name="connsiteX28" fmla="*/ 6364157 w 6568309"/>
              <a:gd name="connsiteY28" fmla="*/ 1427803 h 6858000"/>
              <a:gd name="connsiteX29" fmla="*/ 6335874 w 6568309"/>
              <a:gd name="connsiteY29" fmla="*/ 1540278 h 6858000"/>
              <a:gd name="connsiteX30" fmla="*/ 6331892 w 6568309"/>
              <a:gd name="connsiteY30" fmla="*/ 1547262 h 6858000"/>
              <a:gd name="connsiteX31" fmla="*/ 6332744 w 6568309"/>
              <a:gd name="connsiteY31" fmla="*/ 1577056 h 6858000"/>
              <a:gd name="connsiteX32" fmla="*/ 6333604 w 6568309"/>
              <a:gd name="connsiteY32" fmla="*/ 1595898 h 6858000"/>
              <a:gd name="connsiteX33" fmla="*/ 6324749 w 6568309"/>
              <a:gd name="connsiteY33" fmla="*/ 1703726 h 6858000"/>
              <a:gd name="connsiteX34" fmla="*/ 6329594 w 6568309"/>
              <a:gd name="connsiteY34" fmla="*/ 1809535 h 6858000"/>
              <a:gd name="connsiteX35" fmla="*/ 6329062 w 6568309"/>
              <a:gd name="connsiteY35" fmla="*/ 2018310 h 6858000"/>
              <a:gd name="connsiteX36" fmla="*/ 6321735 w 6568309"/>
              <a:gd name="connsiteY36" fmla="*/ 2071355 h 6858000"/>
              <a:gd name="connsiteX37" fmla="*/ 6322678 w 6568309"/>
              <a:gd name="connsiteY37" fmla="*/ 2141166 h 6858000"/>
              <a:gd name="connsiteX38" fmla="*/ 6321340 w 6568309"/>
              <a:gd name="connsiteY38" fmla="*/ 2154548 h 6858000"/>
              <a:gd name="connsiteX39" fmla="*/ 6316582 w 6568309"/>
              <a:gd name="connsiteY39" fmla="*/ 2158153 h 6858000"/>
              <a:gd name="connsiteX40" fmla="*/ 6311428 w 6568309"/>
              <a:gd name="connsiteY40" fmla="*/ 2178174 h 6858000"/>
              <a:gd name="connsiteX41" fmla="*/ 6310192 w 6568309"/>
              <a:gd name="connsiteY41" fmla="*/ 2202858 h 6858000"/>
              <a:gd name="connsiteX42" fmla="*/ 6309211 w 6568309"/>
              <a:gd name="connsiteY42" fmla="*/ 2320214 h 6858000"/>
              <a:gd name="connsiteX43" fmla="*/ 6300151 w 6568309"/>
              <a:gd name="connsiteY43" fmla="*/ 2417011 h 6858000"/>
              <a:gd name="connsiteX44" fmla="*/ 6295176 w 6568309"/>
              <a:gd name="connsiteY44" fmla="*/ 2454207 h 6858000"/>
              <a:gd name="connsiteX45" fmla="*/ 6293727 w 6568309"/>
              <a:gd name="connsiteY45" fmla="*/ 2487203 h 6858000"/>
              <a:gd name="connsiteX46" fmla="*/ 6285477 w 6568309"/>
              <a:gd name="connsiteY46" fmla="*/ 2512282 h 6858000"/>
              <a:gd name="connsiteX47" fmla="*/ 6286205 w 6568309"/>
              <a:gd name="connsiteY47" fmla="*/ 2514318 h 6858000"/>
              <a:gd name="connsiteX48" fmla="*/ 6304629 w 6568309"/>
              <a:gd name="connsiteY48" fmla="*/ 2574334 h 6858000"/>
              <a:gd name="connsiteX49" fmla="*/ 6303842 w 6568309"/>
              <a:gd name="connsiteY49" fmla="*/ 2579877 h 6858000"/>
              <a:gd name="connsiteX50" fmla="*/ 6303953 w 6568309"/>
              <a:gd name="connsiteY50" fmla="*/ 2608928 h 6858000"/>
              <a:gd name="connsiteX51" fmla="*/ 6303530 w 6568309"/>
              <a:gd name="connsiteY51" fmla="*/ 2613111 h 6858000"/>
              <a:gd name="connsiteX52" fmla="*/ 6297474 w 6568309"/>
              <a:gd name="connsiteY52" fmla="*/ 2621996 h 6858000"/>
              <a:gd name="connsiteX53" fmla="*/ 6299263 w 6568309"/>
              <a:gd name="connsiteY53" fmla="*/ 2634265 h 6858000"/>
              <a:gd name="connsiteX54" fmla="*/ 6293065 w 6568309"/>
              <a:gd name="connsiteY54" fmla="*/ 2647237 h 6858000"/>
              <a:gd name="connsiteX55" fmla="*/ 6297496 w 6568309"/>
              <a:gd name="connsiteY55" fmla="*/ 2650786 h 6858000"/>
              <a:gd name="connsiteX56" fmla="*/ 6301708 w 6568309"/>
              <a:gd name="connsiteY56" fmla="*/ 2661993 h 6858000"/>
              <a:gd name="connsiteX57" fmla="*/ 6295884 w 6568309"/>
              <a:gd name="connsiteY57" fmla="*/ 2670949 h 6858000"/>
              <a:gd name="connsiteX58" fmla="*/ 6291714 w 6568309"/>
              <a:gd name="connsiteY58" fmla="*/ 2690255 h 6858000"/>
              <a:gd name="connsiteX59" fmla="*/ 6292327 w 6568309"/>
              <a:gd name="connsiteY59" fmla="*/ 2695683 h 6858000"/>
              <a:gd name="connsiteX60" fmla="*/ 6284410 w 6568309"/>
              <a:gd name="connsiteY60" fmla="*/ 2713964 h 6858000"/>
              <a:gd name="connsiteX61" fmla="*/ 6280410 w 6568309"/>
              <a:gd name="connsiteY61" fmla="*/ 2730175 h 6858000"/>
              <a:gd name="connsiteX62" fmla="*/ 6288082 w 6568309"/>
              <a:gd name="connsiteY62" fmla="*/ 2763497 h 6858000"/>
              <a:gd name="connsiteX63" fmla="*/ 6260924 w 6568309"/>
              <a:gd name="connsiteY63" fmla="*/ 3051539 h 6858000"/>
              <a:gd name="connsiteX64" fmla="*/ 6210151 w 6568309"/>
              <a:gd name="connsiteY64" fmla="*/ 3335396 h 6858000"/>
              <a:gd name="connsiteX65" fmla="*/ 6212034 w 6568309"/>
              <a:gd name="connsiteY65" fmla="*/ 3456509 h 6858000"/>
              <a:gd name="connsiteX66" fmla="*/ 6197490 w 6568309"/>
              <a:gd name="connsiteY66" fmla="*/ 3531827 h 6858000"/>
              <a:gd name="connsiteX67" fmla="*/ 6208018 w 6568309"/>
              <a:gd name="connsiteY67" fmla="*/ 3570877 h 6858000"/>
              <a:gd name="connsiteX68" fmla="*/ 6205920 w 6568309"/>
              <a:gd name="connsiteY68" fmla="*/ 3583849 h 6858000"/>
              <a:gd name="connsiteX69" fmla="*/ 6199616 w 6568309"/>
              <a:gd name="connsiteY69" fmla="*/ 3592763 h 6858000"/>
              <a:gd name="connsiteX70" fmla="*/ 6181288 w 6568309"/>
              <a:gd name="connsiteY70" fmla="*/ 3653485 h 6858000"/>
              <a:gd name="connsiteX71" fmla="*/ 6175963 w 6568309"/>
              <a:gd name="connsiteY71" fmla="*/ 3670528 h 6858000"/>
              <a:gd name="connsiteX72" fmla="*/ 6176722 w 6568309"/>
              <a:gd name="connsiteY72" fmla="*/ 3685990 h 6858000"/>
              <a:gd name="connsiteX73" fmla="*/ 6181549 w 6568309"/>
              <a:gd name="connsiteY73" fmla="*/ 3690283 h 6858000"/>
              <a:gd name="connsiteX74" fmla="*/ 6179476 w 6568309"/>
              <a:gd name="connsiteY74" fmla="*/ 3699787 h 6858000"/>
              <a:gd name="connsiteX75" fmla="*/ 6180040 w 6568309"/>
              <a:gd name="connsiteY75" fmla="*/ 3702486 h 6858000"/>
              <a:gd name="connsiteX76" fmla="*/ 6182155 w 6568309"/>
              <a:gd name="connsiteY76" fmla="*/ 3717784 h 6858000"/>
              <a:gd name="connsiteX77" fmla="*/ 6158980 w 6568309"/>
              <a:gd name="connsiteY77" fmla="*/ 3746229 h 6858000"/>
              <a:gd name="connsiteX78" fmla="*/ 6096049 w 6568309"/>
              <a:gd name="connsiteY78" fmla="*/ 3924910 h 6858000"/>
              <a:gd name="connsiteX79" fmla="*/ 6069712 w 6568309"/>
              <a:gd name="connsiteY79" fmla="*/ 3989353 h 6858000"/>
              <a:gd name="connsiteX80" fmla="*/ 6067330 w 6568309"/>
              <a:gd name="connsiteY80" fmla="*/ 4033899 h 6858000"/>
              <a:gd name="connsiteX81" fmla="*/ 6061081 w 6568309"/>
              <a:gd name="connsiteY81" fmla="*/ 4142250 h 6858000"/>
              <a:gd name="connsiteX82" fmla="*/ 6042858 w 6568309"/>
              <a:gd name="connsiteY82" fmla="*/ 4329442 h 6858000"/>
              <a:gd name="connsiteX83" fmla="*/ 6034182 w 6568309"/>
              <a:gd name="connsiteY83" fmla="*/ 4456184 h 6858000"/>
              <a:gd name="connsiteX84" fmla="*/ 6029178 w 6568309"/>
              <a:gd name="connsiteY84" fmla="*/ 4468478 h 6858000"/>
              <a:gd name="connsiteX85" fmla="*/ 6029974 w 6568309"/>
              <a:gd name="connsiteY85" fmla="*/ 4469862 h 6858000"/>
              <a:gd name="connsiteX86" fmla="*/ 6028340 w 6568309"/>
              <a:gd name="connsiteY86" fmla="*/ 4483797 h 6858000"/>
              <a:gd name="connsiteX87" fmla="*/ 6025168 w 6568309"/>
              <a:gd name="connsiteY87" fmla="*/ 4487091 h 6858000"/>
              <a:gd name="connsiteX88" fmla="*/ 6023164 w 6568309"/>
              <a:gd name="connsiteY88" fmla="*/ 4496728 h 6858000"/>
              <a:gd name="connsiteX89" fmla="*/ 6016839 w 6568309"/>
              <a:gd name="connsiteY89" fmla="*/ 4515918 h 6858000"/>
              <a:gd name="connsiteX90" fmla="*/ 6017886 w 6568309"/>
              <a:gd name="connsiteY90" fmla="*/ 4519316 h 6858000"/>
              <a:gd name="connsiteX91" fmla="*/ 6011819 w 6568309"/>
              <a:gd name="connsiteY91" fmla="*/ 4547957 h 6858000"/>
              <a:gd name="connsiteX92" fmla="*/ 6012791 w 6568309"/>
              <a:gd name="connsiteY92" fmla="*/ 4548262 h 6858000"/>
              <a:gd name="connsiteX93" fmla="*/ 6015703 w 6568309"/>
              <a:gd name="connsiteY93" fmla="*/ 4555939 h 6858000"/>
              <a:gd name="connsiteX94" fmla="*/ 6018854 w 6568309"/>
              <a:gd name="connsiteY94" fmla="*/ 4570815 h 6858000"/>
              <a:gd name="connsiteX95" fmla="*/ 6033000 w 6568309"/>
              <a:gd name="connsiteY95" fmla="*/ 4633846 h 6858000"/>
              <a:gd name="connsiteX96" fmla="*/ 6032325 w 6568309"/>
              <a:gd name="connsiteY96" fmla="*/ 4639816 h 6858000"/>
              <a:gd name="connsiteX97" fmla="*/ 6032549 w 6568309"/>
              <a:gd name="connsiteY97" fmla="*/ 4639923 h 6858000"/>
              <a:gd name="connsiteX98" fmla="*/ 6032309 w 6568309"/>
              <a:gd name="connsiteY98" fmla="*/ 4646192 h 6858000"/>
              <a:gd name="connsiteX99" fmla="*/ 6031095 w 6568309"/>
              <a:gd name="connsiteY99" fmla="*/ 4650706 h 6858000"/>
              <a:gd name="connsiteX100" fmla="*/ 6029786 w 6568309"/>
              <a:gd name="connsiteY100" fmla="*/ 4662290 h 6858000"/>
              <a:gd name="connsiteX101" fmla="*/ 6030911 w 6568309"/>
              <a:gd name="connsiteY101" fmla="*/ 4666180 h 6858000"/>
              <a:gd name="connsiteX102" fmla="*/ 6033630 w 6568309"/>
              <a:gd name="connsiteY102" fmla="*/ 4667585 h 6858000"/>
              <a:gd name="connsiteX103" fmla="*/ 6033189 w 6568309"/>
              <a:gd name="connsiteY103" fmla="*/ 4668660 h 6858000"/>
              <a:gd name="connsiteX104" fmla="*/ 6038764 w 6568309"/>
              <a:gd name="connsiteY104" fmla="*/ 4689807 h 6858000"/>
              <a:gd name="connsiteX105" fmla="*/ 6042217 w 6568309"/>
              <a:gd name="connsiteY105" fmla="*/ 4737890 h 6858000"/>
              <a:gd name="connsiteX106" fmla="*/ 6040543 w 6568309"/>
              <a:gd name="connsiteY106" fmla="*/ 4765657 h 6858000"/>
              <a:gd name="connsiteX107" fmla="*/ 6039956 w 6568309"/>
              <a:gd name="connsiteY107" fmla="*/ 4841463 h 6858000"/>
              <a:gd name="connsiteX108" fmla="*/ 6057123 w 6568309"/>
              <a:gd name="connsiteY108" fmla="*/ 4969863 h 6858000"/>
              <a:gd name="connsiteX109" fmla="*/ 6055039 w 6568309"/>
              <a:gd name="connsiteY109" fmla="*/ 4974028 h 6858000"/>
              <a:gd name="connsiteX110" fmla="*/ 6053462 w 6568309"/>
              <a:gd name="connsiteY110" fmla="*/ 4980318 h 6858000"/>
              <a:gd name="connsiteX111" fmla="*/ 6053643 w 6568309"/>
              <a:gd name="connsiteY111" fmla="*/ 4980501 h 6858000"/>
              <a:gd name="connsiteX112" fmla="*/ 6051733 w 6568309"/>
              <a:gd name="connsiteY112" fmla="*/ 4986338 h 6858000"/>
              <a:gd name="connsiteX113" fmla="*/ 6049602 w 6568309"/>
              <a:gd name="connsiteY113" fmla="*/ 4991296 h 6858000"/>
              <a:gd name="connsiteX114" fmla="*/ 6075165 w 6568309"/>
              <a:gd name="connsiteY114" fmla="*/ 5076895 h 6858000"/>
              <a:gd name="connsiteX115" fmla="*/ 6073751 w 6568309"/>
              <a:gd name="connsiteY115" fmla="*/ 5081568 h 6858000"/>
              <a:gd name="connsiteX116" fmla="*/ 6073150 w 6568309"/>
              <a:gd name="connsiteY116" fmla="*/ 5088173 h 6858000"/>
              <a:gd name="connsiteX117" fmla="*/ 6073355 w 6568309"/>
              <a:gd name="connsiteY117" fmla="*/ 5088300 h 6858000"/>
              <a:gd name="connsiteX118" fmla="*/ 6072362 w 6568309"/>
              <a:gd name="connsiteY118" fmla="*/ 5094558 h 6858000"/>
              <a:gd name="connsiteX119" fmla="*/ 6064726 w 6568309"/>
              <a:gd name="connsiteY119" fmla="*/ 5125620 h 6858000"/>
              <a:gd name="connsiteX120" fmla="*/ 6065415 w 6568309"/>
              <a:gd name="connsiteY120" fmla="*/ 5268004 h 6858000"/>
              <a:gd name="connsiteX121" fmla="*/ 6066081 w 6568309"/>
              <a:gd name="connsiteY121" fmla="*/ 5269530 h 6858000"/>
              <a:gd name="connsiteX122" fmla="*/ 6043407 w 6568309"/>
              <a:gd name="connsiteY122" fmla="*/ 5390941 h 6858000"/>
              <a:gd name="connsiteX123" fmla="*/ 6025377 w 6568309"/>
              <a:gd name="connsiteY123" fmla="*/ 5539927 h 6858000"/>
              <a:gd name="connsiteX124" fmla="*/ 6010052 w 6568309"/>
              <a:gd name="connsiteY124" fmla="*/ 5791594 h 6858000"/>
              <a:gd name="connsiteX125" fmla="*/ 5994220 w 6568309"/>
              <a:gd name="connsiteY125" fmla="*/ 5855206 h 6858000"/>
              <a:gd name="connsiteX126" fmla="*/ 5982580 w 6568309"/>
              <a:gd name="connsiteY126" fmla="*/ 5873582 h 6858000"/>
              <a:gd name="connsiteX127" fmla="*/ 5983608 w 6568309"/>
              <a:gd name="connsiteY127" fmla="*/ 5876037 h 6858000"/>
              <a:gd name="connsiteX128" fmla="*/ 5983535 w 6568309"/>
              <a:gd name="connsiteY128" fmla="*/ 5886534 h 6858000"/>
              <a:gd name="connsiteX129" fmla="*/ 5988737 w 6568309"/>
              <a:gd name="connsiteY129" fmla="*/ 5888644 h 6858000"/>
              <a:gd name="connsiteX130" fmla="*/ 5992371 w 6568309"/>
              <a:gd name="connsiteY130" fmla="*/ 5903832 h 6858000"/>
              <a:gd name="connsiteX131" fmla="*/ 5990780 w 6568309"/>
              <a:gd name="connsiteY131" fmla="*/ 5923391 h 6858000"/>
              <a:gd name="connsiteX132" fmla="*/ 5993870 w 6568309"/>
              <a:gd name="connsiteY132" fmla="*/ 6013205 h 6858000"/>
              <a:gd name="connsiteX133" fmla="*/ 5997673 w 6568309"/>
              <a:gd name="connsiteY133" fmla="*/ 6074018 h 6858000"/>
              <a:gd name="connsiteX134" fmla="*/ 6014840 w 6568309"/>
              <a:gd name="connsiteY134" fmla="*/ 6130837 h 6858000"/>
              <a:gd name="connsiteX135" fmla="*/ 6010704 w 6568309"/>
              <a:gd name="connsiteY135" fmla="*/ 6152982 h 6858000"/>
              <a:gd name="connsiteX136" fmla="*/ 6038294 w 6568309"/>
              <a:gd name="connsiteY136" fmla="*/ 6221100 h 6858000"/>
              <a:gd name="connsiteX137" fmla="*/ 6052331 w 6568309"/>
              <a:gd name="connsiteY137" fmla="*/ 6287550 h 6858000"/>
              <a:gd name="connsiteX138" fmla="*/ 6074143 w 6568309"/>
              <a:gd name="connsiteY138" fmla="*/ 6401595 h 6858000"/>
              <a:gd name="connsiteX139" fmla="*/ 6060199 w 6568309"/>
              <a:gd name="connsiteY139" fmla="*/ 6487110 h 6858000"/>
              <a:gd name="connsiteX140" fmla="*/ 6081156 w 6568309"/>
              <a:gd name="connsiteY140" fmla="*/ 6588589 h 6858000"/>
              <a:gd name="connsiteX141" fmla="*/ 6114944 w 6568309"/>
              <a:gd name="connsiteY141" fmla="*/ 6769963 h 6858000"/>
              <a:gd name="connsiteX142" fmla="*/ 6128950 w 6568309"/>
              <a:gd name="connsiteY142" fmla="*/ 6835814 h 6858000"/>
              <a:gd name="connsiteX143" fmla="*/ 6132536 w 6568309"/>
              <a:gd name="connsiteY143" fmla="*/ 6858000 h 6858000"/>
              <a:gd name="connsiteX144" fmla="*/ 4789511 w 6568309"/>
              <a:gd name="connsiteY144" fmla="*/ 6858000 h 6858000"/>
              <a:gd name="connsiteX145" fmla="*/ 1866294 w 6568309"/>
              <a:gd name="connsiteY145" fmla="*/ 6858000 h 6858000"/>
              <a:gd name="connsiteX146" fmla="*/ 1705866 w 6568309"/>
              <a:gd name="connsiteY146" fmla="*/ 6858000 h 6858000"/>
              <a:gd name="connsiteX147" fmla="*/ 1343025 w 6568309"/>
              <a:gd name="connsiteY147" fmla="*/ 6858000 h 6858000"/>
              <a:gd name="connsiteX148" fmla="*/ 523269 w 6568309"/>
              <a:gd name="connsiteY148" fmla="*/ 6858000 h 6858000"/>
              <a:gd name="connsiteX149" fmla="*/ 362841 w 6568309"/>
              <a:gd name="connsiteY149" fmla="*/ 6858000 h 6858000"/>
              <a:gd name="connsiteX150" fmla="*/ 0 w 6568309"/>
              <a:gd name="connsiteY15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6568309" h="6858000">
                <a:moveTo>
                  <a:pt x="0" y="0"/>
                </a:moveTo>
                <a:lnTo>
                  <a:pt x="362841" y="0"/>
                </a:lnTo>
                <a:lnTo>
                  <a:pt x="523269" y="0"/>
                </a:lnTo>
                <a:lnTo>
                  <a:pt x="1343025" y="0"/>
                </a:lnTo>
                <a:lnTo>
                  <a:pt x="1705866" y="0"/>
                </a:lnTo>
                <a:lnTo>
                  <a:pt x="1866294" y="0"/>
                </a:lnTo>
                <a:lnTo>
                  <a:pt x="5225154" y="0"/>
                </a:lnTo>
                <a:lnTo>
                  <a:pt x="6568179" y="0"/>
                </a:lnTo>
                <a:lnTo>
                  <a:pt x="6568309" y="1"/>
                </a:lnTo>
                <a:lnTo>
                  <a:pt x="6562951" y="30700"/>
                </a:lnTo>
                <a:cubicBezTo>
                  <a:pt x="6559126" y="84364"/>
                  <a:pt x="6548218" y="241149"/>
                  <a:pt x="6547446" y="310025"/>
                </a:cubicBezTo>
                <a:cubicBezTo>
                  <a:pt x="6550151" y="367544"/>
                  <a:pt x="6557712" y="408251"/>
                  <a:pt x="6558316" y="443960"/>
                </a:cubicBezTo>
                <a:cubicBezTo>
                  <a:pt x="6555224" y="499397"/>
                  <a:pt x="6534767" y="604434"/>
                  <a:pt x="6528896" y="642659"/>
                </a:cubicBezTo>
                <a:cubicBezTo>
                  <a:pt x="6535204" y="657287"/>
                  <a:pt x="6515365" y="658191"/>
                  <a:pt x="6523095" y="673307"/>
                </a:cubicBezTo>
                <a:cubicBezTo>
                  <a:pt x="6523388" y="693769"/>
                  <a:pt x="6506868" y="797295"/>
                  <a:pt x="6496169" y="839641"/>
                </a:cubicBezTo>
                <a:cubicBezTo>
                  <a:pt x="6484119" y="887148"/>
                  <a:pt x="6457817" y="937731"/>
                  <a:pt x="6450789" y="958357"/>
                </a:cubicBezTo>
                <a:cubicBezTo>
                  <a:pt x="6443760" y="978983"/>
                  <a:pt x="6459217" y="936930"/>
                  <a:pt x="6453996" y="963398"/>
                </a:cubicBezTo>
                <a:cubicBezTo>
                  <a:pt x="6448777" y="989867"/>
                  <a:pt x="6425575" y="1087010"/>
                  <a:pt x="6419467" y="1117169"/>
                </a:cubicBezTo>
                <a:cubicBezTo>
                  <a:pt x="6431540" y="1118586"/>
                  <a:pt x="6409651" y="1135372"/>
                  <a:pt x="6417348" y="1144352"/>
                </a:cubicBezTo>
                <a:cubicBezTo>
                  <a:pt x="6424109" y="1150681"/>
                  <a:pt x="6419047" y="1157251"/>
                  <a:pt x="6418473" y="1164484"/>
                </a:cubicBezTo>
                <a:cubicBezTo>
                  <a:pt x="6423767" y="1173524"/>
                  <a:pt x="6413947" y="1205209"/>
                  <a:pt x="6406979" y="1213829"/>
                </a:cubicBezTo>
                <a:cubicBezTo>
                  <a:pt x="6382818" y="1235037"/>
                  <a:pt x="6400452" y="1277327"/>
                  <a:pt x="6381928" y="1294823"/>
                </a:cubicBezTo>
                <a:cubicBezTo>
                  <a:pt x="6379195" y="1300845"/>
                  <a:pt x="6378069" y="1306615"/>
                  <a:pt x="6377948" y="1312193"/>
                </a:cubicBezTo>
                <a:lnTo>
                  <a:pt x="6379894" y="1327626"/>
                </a:lnTo>
                <a:lnTo>
                  <a:pt x="6385024" y="1331644"/>
                </a:lnTo>
                <a:lnTo>
                  <a:pt x="6383696" y="1341276"/>
                </a:lnTo>
                <a:cubicBezTo>
                  <a:pt x="6383952" y="1342166"/>
                  <a:pt x="6384208" y="1343055"/>
                  <a:pt x="6384464" y="1343945"/>
                </a:cubicBezTo>
                <a:cubicBezTo>
                  <a:pt x="6385957" y="1349040"/>
                  <a:pt x="6387253" y="1354080"/>
                  <a:pt x="6387748" y="1359134"/>
                </a:cubicBezTo>
                <a:cubicBezTo>
                  <a:pt x="6384363" y="1373109"/>
                  <a:pt x="6372802" y="1397612"/>
                  <a:pt x="6364157" y="1427803"/>
                </a:cubicBezTo>
                <a:cubicBezTo>
                  <a:pt x="6348141" y="1460349"/>
                  <a:pt x="6348362" y="1505076"/>
                  <a:pt x="6335874" y="1540278"/>
                </a:cubicBezTo>
                <a:lnTo>
                  <a:pt x="6331892" y="1547262"/>
                </a:lnTo>
                <a:lnTo>
                  <a:pt x="6332744" y="1577056"/>
                </a:lnTo>
                <a:cubicBezTo>
                  <a:pt x="6335859" y="1582205"/>
                  <a:pt x="6336674" y="1589568"/>
                  <a:pt x="6333604" y="1595898"/>
                </a:cubicBezTo>
                <a:lnTo>
                  <a:pt x="6324749" y="1703726"/>
                </a:lnTo>
                <a:cubicBezTo>
                  <a:pt x="6324080" y="1739332"/>
                  <a:pt x="6318019" y="1754453"/>
                  <a:pt x="6329594" y="1809535"/>
                </a:cubicBezTo>
                <a:cubicBezTo>
                  <a:pt x="6344930" y="1868036"/>
                  <a:pt x="6323725" y="1952670"/>
                  <a:pt x="6329062" y="2018310"/>
                </a:cubicBezTo>
                <a:cubicBezTo>
                  <a:pt x="6308075" y="2053162"/>
                  <a:pt x="6326925" y="2034561"/>
                  <a:pt x="6321735" y="2071355"/>
                </a:cubicBezTo>
                <a:lnTo>
                  <a:pt x="6322678" y="2141166"/>
                </a:lnTo>
                <a:lnTo>
                  <a:pt x="6321340" y="2154548"/>
                </a:lnTo>
                <a:lnTo>
                  <a:pt x="6316582" y="2158153"/>
                </a:lnTo>
                <a:lnTo>
                  <a:pt x="6311428" y="2178174"/>
                </a:lnTo>
                <a:cubicBezTo>
                  <a:pt x="6310177" y="2185696"/>
                  <a:pt x="6309622" y="2193828"/>
                  <a:pt x="6310192" y="2202858"/>
                </a:cubicBezTo>
                <a:cubicBezTo>
                  <a:pt x="6319667" y="2232772"/>
                  <a:pt x="6296459" y="2283357"/>
                  <a:pt x="6309211" y="2320214"/>
                </a:cubicBezTo>
                <a:cubicBezTo>
                  <a:pt x="6307537" y="2355906"/>
                  <a:pt x="6302490" y="2394678"/>
                  <a:pt x="6300151" y="2417011"/>
                </a:cubicBezTo>
                <a:cubicBezTo>
                  <a:pt x="6292303" y="2426377"/>
                  <a:pt x="6304439" y="2456509"/>
                  <a:pt x="6295176" y="2454207"/>
                </a:cubicBezTo>
                <a:cubicBezTo>
                  <a:pt x="6299335" y="2464947"/>
                  <a:pt x="6297305" y="2476105"/>
                  <a:pt x="6293727" y="2487203"/>
                </a:cubicBezTo>
                <a:lnTo>
                  <a:pt x="6285477" y="2512282"/>
                </a:lnTo>
                <a:cubicBezTo>
                  <a:pt x="6285720" y="2512961"/>
                  <a:pt x="6285962" y="2513640"/>
                  <a:pt x="6286205" y="2514318"/>
                </a:cubicBezTo>
                <a:cubicBezTo>
                  <a:pt x="6292347" y="2534324"/>
                  <a:pt x="6298487" y="2554328"/>
                  <a:pt x="6304629" y="2574334"/>
                </a:cubicBezTo>
                <a:lnTo>
                  <a:pt x="6303842" y="2579877"/>
                </a:lnTo>
                <a:cubicBezTo>
                  <a:pt x="6303729" y="2585644"/>
                  <a:pt x="6304006" y="2603388"/>
                  <a:pt x="6303953" y="2608928"/>
                </a:cubicBezTo>
                <a:lnTo>
                  <a:pt x="6303530" y="2613111"/>
                </a:lnTo>
                <a:lnTo>
                  <a:pt x="6297474" y="2621996"/>
                </a:lnTo>
                <a:lnTo>
                  <a:pt x="6299263" y="2634265"/>
                </a:lnTo>
                <a:lnTo>
                  <a:pt x="6293065" y="2647237"/>
                </a:lnTo>
                <a:cubicBezTo>
                  <a:pt x="6294685" y="2648158"/>
                  <a:pt x="6296180" y="2649356"/>
                  <a:pt x="6297496" y="2650786"/>
                </a:cubicBezTo>
                <a:lnTo>
                  <a:pt x="6301708" y="2661993"/>
                </a:lnTo>
                <a:lnTo>
                  <a:pt x="6295884" y="2670949"/>
                </a:lnTo>
                <a:cubicBezTo>
                  <a:pt x="6304913" y="2672007"/>
                  <a:pt x="6294429" y="2681695"/>
                  <a:pt x="6291714" y="2690255"/>
                </a:cubicBezTo>
                <a:lnTo>
                  <a:pt x="6292327" y="2695683"/>
                </a:lnTo>
                <a:lnTo>
                  <a:pt x="6284410" y="2713964"/>
                </a:lnTo>
                <a:lnTo>
                  <a:pt x="6280410" y="2730175"/>
                </a:lnTo>
                <a:lnTo>
                  <a:pt x="6288082" y="2763497"/>
                </a:lnTo>
                <a:lnTo>
                  <a:pt x="6260924" y="3051539"/>
                </a:lnTo>
                <a:cubicBezTo>
                  <a:pt x="6251455" y="3165645"/>
                  <a:pt x="6222174" y="3216611"/>
                  <a:pt x="6210151" y="3335396"/>
                </a:cubicBezTo>
                <a:lnTo>
                  <a:pt x="6212034" y="3456509"/>
                </a:lnTo>
                <a:lnTo>
                  <a:pt x="6197490" y="3531827"/>
                </a:lnTo>
                <a:lnTo>
                  <a:pt x="6208018" y="3570877"/>
                </a:lnTo>
                <a:lnTo>
                  <a:pt x="6205920" y="3583849"/>
                </a:lnTo>
                <a:lnTo>
                  <a:pt x="6199616" y="3592763"/>
                </a:lnTo>
                <a:cubicBezTo>
                  <a:pt x="6191839" y="3613948"/>
                  <a:pt x="6196204" y="3641245"/>
                  <a:pt x="6181288" y="3653485"/>
                </a:cubicBezTo>
                <a:cubicBezTo>
                  <a:pt x="6178087" y="3659316"/>
                  <a:pt x="6176516" y="3664985"/>
                  <a:pt x="6175963" y="3670528"/>
                </a:cubicBezTo>
                <a:lnTo>
                  <a:pt x="6176722" y="3685990"/>
                </a:lnTo>
                <a:lnTo>
                  <a:pt x="6181549" y="3690283"/>
                </a:lnTo>
                <a:lnTo>
                  <a:pt x="6179476" y="3699787"/>
                </a:lnTo>
                <a:cubicBezTo>
                  <a:pt x="6179664" y="3700686"/>
                  <a:pt x="6179852" y="3701586"/>
                  <a:pt x="6180040" y="3702486"/>
                </a:cubicBezTo>
                <a:cubicBezTo>
                  <a:pt x="6181140" y="3707637"/>
                  <a:pt x="6182047" y="3712728"/>
                  <a:pt x="6182155" y="3717784"/>
                </a:cubicBezTo>
                <a:cubicBezTo>
                  <a:pt x="6156678" y="3711701"/>
                  <a:pt x="6178864" y="3759789"/>
                  <a:pt x="6158980" y="3746229"/>
                </a:cubicBezTo>
                <a:cubicBezTo>
                  <a:pt x="6144630" y="3780750"/>
                  <a:pt x="6117520" y="3867558"/>
                  <a:pt x="6096049" y="3924910"/>
                </a:cubicBezTo>
                <a:lnTo>
                  <a:pt x="6069712" y="3989353"/>
                </a:lnTo>
                <a:lnTo>
                  <a:pt x="6067330" y="4033899"/>
                </a:lnTo>
                <a:cubicBezTo>
                  <a:pt x="6065506" y="4070470"/>
                  <a:pt x="6063599" y="4110146"/>
                  <a:pt x="6061081" y="4142250"/>
                </a:cubicBezTo>
                <a:cubicBezTo>
                  <a:pt x="6055260" y="4200007"/>
                  <a:pt x="6045907" y="4278998"/>
                  <a:pt x="6042858" y="4329442"/>
                </a:cubicBezTo>
                <a:cubicBezTo>
                  <a:pt x="6038376" y="4381764"/>
                  <a:pt x="6036461" y="4433012"/>
                  <a:pt x="6034182" y="4456184"/>
                </a:cubicBezTo>
                <a:lnTo>
                  <a:pt x="6029178" y="4468478"/>
                </a:lnTo>
                <a:lnTo>
                  <a:pt x="6029974" y="4469862"/>
                </a:lnTo>
                <a:cubicBezTo>
                  <a:pt x="6031287" y="4476321"/>
                  <a:pt x="6030316" y="4480555"/>
                  <a:pt x="6028340" y="4483797"/>
                </a:cubicBezTo>
                <a:lnTo>
                  <a:pt x="6025168" y="4487091"/>
                </a:lnTo>
                <a:lnTo>
                  <a:pt x="6023164" y="4496728"/>
                </a:lnTo>
                <a:lnTo>
                  <a:pt x="6016839" y="4515918"/>
                </a:lnTo>
                <a:cubicBezTo>
                  <a:pt x="6017189" y="4517049"/>
                  <a:pt x="6017537" y="4518182"/>
                  <a:pt x="6017886" y="4519316"/>
                </a:cubicBezTo>
                <a:lnTo>
                  <a:pt x="6011819" y="4547957"/>
                </a:lnTo>
                <a:lnTo>
                  <a:pt x="6012791" y="4548262"/>
                </a:lnTo>
                <a:cubicBezTo>
                  <a:pt x="6014837" y="4549595"/>
                  <a:pt x="6016087" y="4551811"/>
                  <a:pt x="6015703" y="4555939"/>
                </a:cubicBezTo>
                <a:cubicBezTo>
                  <a:pt x="6031790" y="4548276"/>
                  <a:pt x="6021405" y="4557977"/>
                  <a:pt x="6018854" y="4570815"/>
                </a:cubicBezTo>
                <a:cubicBezTo>
                  <a:pt x="6021736" y="4583801"/>
                  <a:pt x="6030754" y="4622347"/>
                  <a:pt x="6033000" y="4633846"/>
                </a:cubicBezTo>
                <a:lnTo>
                  <a:pt x="6032325" y="4639816"/>
                </a:lnTo>
                <a:lnTo>
                  <a:pt x="6032549" y="4639923"/>
                </a:lnTo>
                <a:cubicBezTo>
                  <a:pt x="6032911" y="4641190"/>
                  <a:pt x="6032878" y="4643141"/>
                  <a:pt x="6032309" y="4646192"/>
                </a:cubicBezTo>
                <a:lnTo>
                  <a:pt x="6031095" y="4650706"/>
                </a:lnTo>
                <a:lnTo>
                  <a:pt x="6029786" y="4662290"/>
                </a:lnTo>
                <a:cubicBezTo>
                  <a:pt x="6030161" y="4663587"/>
                  <a:pt x="6030536" y="4664883"/>
                  <a:pt x="6030911" y="4666180"/>
                </a:cubicBezTo>
                <a:lnTo>
                  <a:pt x="6033630" y="4667585"/>
                </a:lnTo>
                <a:lnTo>
                  <a:pt x="6033189" y="4668660"/>
                </a:lnTo>
                <a:cubicBezTo>
                  <a:pt x="6027286" y="4676831"/>
                  <a:pt x="6019767" y="4679345"/>
                  <a:pt x="6038764" y="4689807"/>
                </a:cubicBezTo>
                <a:cubicBezTo>
                  <a:pt x="6028616" y="4708535"/>
                  <a:pt x="6040474" y="4712235"/>
                  <a:pt x="6042217" y="4737890"/>
                </a:cubicBezTo>
                <a:cubicBezTo>
                  <a:pt x="6033362" y="4748600"/>
                  <a:pt x="6035273" y="4757223"/>
                  <a:pt x="6040543" y="4765657"/>
                </a:cubicBezTo>
                <a:cubicBezTo>
                  <a:pt x="6034416" y="4790618"/>
                  <a:pt x="6040696" y="4813399"/>
                  <a:pt x="6039956" y="4841463"/>
                </a:cubicBezTo>
                <a:lnTo>
                  <a:pt x="6057123" y="4969863"/>
                </a:lnTo>
                <a:lnTo>
                  <a:pt x="6055039" y="4974028"/>
                </a:lnTo>
                <a:cubicBezTo>
                  <a:pt x="6053860" y="4976933"/>
                  <a:pt x="6053409" y="4978909"/>
                  <a:pt x="6053462" y="4980318"/>
                </a:cubicBezTo>
                <a:lnTo>
                  <a:pt x="6053643" y="4980501"/>
                </a:lnTo>
                <a:lnTo>
                  <a:pt x="6051733" y="4986338"/>
                </a:lnTo>
                <a:lnTo>
                  <a:pt x="6049602" y="4991296"/>
                </a:lnTo>
                <a:cubicBezTo>
                  <a:pt x="6058123" y="5019829"/>
                  <a:pt x="6066643" y="5048361"/>
                  <a:pt x="6075165" y="5076895"/>
                </a:cubicBezTo>
                <a:lnTo>
                  <a:pt x="6073751" y="5081568"/>
                </a:lnTo>
                <a:cubicBezTo>
                  <a:pt x="6073034" y="5084748"/>
                  <a:pt x="6072888" y="5086810"/>
                  <a:pt x="6073150" y="5088173"/>
                </a:cubicBezTo>
                <a:lnTo>
                  <a:pt x="6073355" y="5088300"/>
                </a:lnTo>
                <a:lnTo>
                  <a:pt x="6072362" y="5094558"/>
                </a:lnTo>
                <a:cubicBezTo>
                  <a:pt x="6070184" y="5105196"/>
                  <a:pt x="6067588" y="5115626"/>
                  <a:pt x="6064726" y="5125620"/>
                </a:cubicBezTo>
                <a:cubicBezTo>
                  <a:pt x="6063568" y="5154527"/>
                  <a:pt x="6065189" y="5244020"/>
                  <a:pt x="6065415" y="5268004"/>
                </a:cubicBezTo>
                <a:cubicBezTo>
                  <a:pt x="6065637" y="5268513"/>
                  <a:pt x="6065860" y="5269021"/>
                  <a:pt x="6066081" y="5269530"/>
                </a:cubicBezTo>
                <a:lnTo>
                  <a:pt x="6043407" y="5390941"/>
                </a:lnTo>
                <a:cubicBezTo>
                  <a:pt x="6032545" y="5438194"/>
                  <a:pt x="6020942" y="5465286"/>
                  <a:pt x="6025377" y="5539927"/>
                </a:cubicBezTo>
                <a:cubicBezTo>
                  <a:pt x="6019787" y="5610775"/>
                  <a:pt x="6013913" y="5740573"/>
                  <a:pt x="6010052" y="5791594"/>
                </a:cubicBezTo>
                <a:cubicBezTo>
                  <a:pt x="5989401" y="5787060"/>
                  <a:pt x="6018524" y="5849672"/>
                  <a:pt x="5994220" y="5855206"/>
                </a:cubicBezTo>
                <a:cubicBezTo>
                  <a:pt x="5995282" y="5860240"/>
                  <a:pt x="5980598" y="5868910"/>
                  <a:pt x="5982580" y="5873582"/>
                </a:cubicBezTo>
                <a:cubicBezTo>
                  <a:pt x="5982922" y="5874401"/>
                  <a:pt x="5983265" y="5875218"/>
                  <a:pt x="5983608" y="5876037"/>
                </a:cubicBezTo>
                <a:lnTo>
                  <a:pt x="5983535" y="5886534"/>
                </a:lnTo>
                <a:lnTo>
                  <a:pt x="5988737" y="5888644"/>
                </a:lnTo>
                <a:cubicBezTo>
                  <a:pt x="5989948" y="5893707"/>
                  <a:pt x="5991159" y="5898769"/>
                  <a:pt x="5992371" y="5903832"/>
                </a:cubicBezTo>
                <a:cubicBezTo>
                  <a:pt x="5992924" y="5909651"/>
                  <a:pt x="5992578" y="5916068"/>
                  <a:pt x="5990780" y="5923391"/>
                </a:cubicBezTo>
                <a:cubicBezTo>
                  <a:pt x="5975822" y="5948880"/>
                  <a:pt x="6013580" y="5981626"/>
                  <a:pt x="5993870" y="6013205"/>
                </a:cubicBezTo>
                <a:cubicBezTo>
                  <a:pt x="5988486" y="6024901"/>
                  <a:pt x="5991718" y="6066777"/>
                  <a:pt x="5997673" y="6074018"/>
                </a:cubicBezTo>
                <a:cubicBezTo>
                  <a:pt x="5998007" y="6081731"/>
                  <a:pt x="6007861" y="6126985"/>
                  <a:pt x="6014840" y="6130837"/>
                </a:cubicBezTo>
                <a:cubicBezTo>
                  <a:pt x="6022998" y="6137057"/>
                  <a:pt x="5999420" y="6156330"/>
                  <a:pt x="6010704" y="6152982"/>
                </a:cubicBezTo>
                <a:cubicBezTo>
                  <a:pt x="6008682" y="6186619"/>
                  <a:pt x="6039938" y="6191636"/>
                  <a:pt x="6038294" y="6221100"/>
                </a:cubicBezTo>
                <a:cubicBezTo>
                  <a:pt x="6039643" y="6222126"/>
                  <a:pt x="6046356" y="6257468"/>
                  <a:pt x="6052331" y="6287550"/>
                </a:cubicBezTo>
                <a:cubicBezTo>
                  <a:pt x="6058307" y="6317632"/>
                  <a:pt x="6082079" y="6391312"/>
                  <a:pt x="6074143" y="6401595"/>
                </a:cubicBezTo>
                <a:cubicBezTo>
                  <a:pt x="6074931" y="6423902"/>
                  <a:pt x="6059614" y="6432919"/>
                  <a:pt x="6060199" y="6487110"/>
                </a:cubicBezTo>
                <a:cubicBezTo>
                  <a:pt x="6075583" y="6574474"/>
                  <a:pt x="6076150" y="6553611"/>
                  <a:pt x="6081156" y="6588589"/>
                </a:cubicBezTo>
                <a:cubicBezTo>
                  <a:pt x="6102088" y="6637976"/>
                  <a:pt x="6067660" y="6687723"/>
                  <a:pt x="6114944" y="6769963"/>
                </a:cubicBezTo>
                <a:cubicBezTo>
                  <a:pt x="6130462" y="6819284"/>
                  <a:pt x="6119243" y="6817955"/>
                  <a:pt x="6128950" y="6835814"/>
                </a:cubicBezTo>
                <a:lnTo>
                  <a:pt x="6132536" y="6858000"/>
                </a:lnTo>
                <a:lnTo>
                  <a:pt x="4789511" y="6858000"/>
                </a:lnTo>
                <a:lnTo>
                  <a:pt x="1866294" y="6858000"/>
                </a:lnTo>
                <a:lnTo>
                  <a:pt x="1705866" y="6858000"/>
                </a:lnTo>
                <a:lnTo>
                  <a:pt x="1343025" y="6858000"/>
                </a:lnTo>
                <a:lnTo>
                  <a:pt x="523269" y="6858000"/>
                </a:lnTo>
                <a:lnTo>
                  <a:pt x="362841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47BEF4-D9F3-B718-E7A0-983CC15E3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35" y="567557"/>
            <a:ext cx="5338194" cy="1322888"/>
          </a:xfrm>
        </p:spPr>
        <p:txBody>
          <a:bodyPr>
            <a:normAutofit/>
          </a:bodyPr>
          <a:lstStyle/>
          <a:p>
            <a:r>
              <a:rPr lang="en-US"/>
              <a:t>Objectiv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AD274A-8F93-583B-137F-C6649FC92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137" y="1668869"/>
            <a:ext cx="3889819" cy="3983415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900">
                <a:latin typeface="Söhne"/>
              </a:rPr>
              <a:t>Develop a</a:t>
            </a:r>
            <a:r>
              <a:rPr lang="en-US" sz="1900" b="0" i="0">
                <a:effectLst/>
                <a:latin typeface="Söhne"/>
              </a:rPr>
              <a:t> software that effectively utilizes the Revit element metadata to convey material flow concepts across a vast array of layout design op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>
                <a:latin typeface="Söhne"/>
              </a:rPr>
              <a:t>E</a:t>
            </a:r>
            <a:r>
              <a:rPr lang="en-US" sz="1900" b="0" i="0">
                <a:effectLst/>
                <a:latin typeface="Söhne"/>
              </a:rPr>
              <a:t>nhance the Gigafactory's design process by increasing the number of layout iterations under considera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 b="0" i="0">
                <a:effectLst/>
                <a:latin typeface="Söhne"/>
              </a:rPr>
              <a:t>Accelerated evaluation of individual options and the provision of diverse customized tools catering to specific trade need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900" b="0" i="0">
                <a:effectLst/>
                <a:latin typeface="Söhne"/>
              </a:rPr>
              <a:t>Expedite the design process of Gigafactories.</a:t>
            </a:r>
          </a:p>
          <a:p>
            <a:pPr marL="0" indent="0">
              <a:buNone/>
            </a:pPr>
            <a:endParaRPr lang="en-US" sz="1900" dirty="0"/>
          </a:p>
        </p:txBody>
      </p:sp>
      <p:pic>
        <p:nvPicPr>
          <p:cNvPr id="9" name="Picture 8" descr="A close-up of a map&#10;&#10;Description automatically generated">
            <a:extLst>
              <a:ext uri="{FF2B5EF4-FFF2-40B4-BE49-F238E27FC236}">
                <a16:creationId xmlns:a16="http://schemas.microsoft.com/office/drawing/2014/main" id="{5393F7CC-370C-A4DE-2097-75EB583F7E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282" r="20765"/>
          <a:stretch/>
        </p:blipFill>
        <p:spPr>
          <a:xfrm>
            <a:off x="8884382" y="0"/>
            <a:ext cx="3307618" cy="2554087"/>
          </a:xfrm>
          <a:custGeom>
            <a:avLst/>
            <a:gdLst/>
            <a:ahLst/>
            <a:cxnLst/>
            <a:rect l="l" t="t" r="r" b="b"/>
            <a:pathLst>
              <a:path w="4579876" h="3536502">
                <a:moveTo>
                  <a:pt x="457312" y="0"/>
                </a:moveTo>
                <a:lnTo>
                  <a:pt x="4579876" y="0"/>
                </a:lnTo>
                <a:lnTo>
                  <a:pt x="4579876" y="3057029"/>
                </a:lnTo>
                <a:lnTo>
                  <a:pt x="4508441" y="3086568"/>
                </a:lnTo>
                <a:cubicBezTo>
                  <a:pt x="4391572" y="3126663"/>
                  <a:pt x="4301124" y="3221848"/>
                  <a:pt x="4183947" y="3271738"/>
                </a:cubicBezTo>
                <a:cubicBezTo>
                  <a:pt x="4099090" y="3307854"/>
                  <a:pt x="4017967" y="3354374"/>
                  <a:pt x="3930625" y="3387123"/>
                </a:cubicBezTo>
                <a:cubicBezTo>
                  <a:pt x="3723932" y="3464557"/>
                  <a:pt x="3513195" y="3526689"/>
                  <a:pt x="3290337" y="3535564"/>
                </a:cubicBezTo>
                <a:cubicBezTo>
                  <a:pt x="3106332" y="3542605"/>
                  <a:pt x="1510274" y="3535872"/>
                  <a:pt x="861903" y="2528615"/>
                </a:cubicBezTo>
                <a:cubicBezTo>
                  <a:pt x="849470" y="2523717"/>
                  <a:pt x="835485" y="2510862"/>
                  <a:pt x="831133" y="2498619"/>
                </a:cubicBezTo>
                <a:cubicBezTo>
                  <a:pt x="810307" y="2441385"/>
                  <a:pt x="759333" y="2416594"/>
                  <a:pt x="713333" y="2385682"/>
                </a:cubicBezTo>
                <a:cubicBezTo>
                  <a:pt x="672925" y="2358442"/>
                  <a:pt x="630030" y="2329978"/>
                  <a:pt x="613246" y="2284067"/>
                </a:cubicBezTo>
                <a:cubicBezTo>
                  <a:pt x="591179" y="2222855"/>
                  <a:pt x="653963" y="2273050"/>
                  <a:pt x="665465" y="2249789"/>
                </a:cubicBezTo>
                <a:cubicBezTo>
                  <a:pt x="641532" y="2217960"/>
                  <a:pt x="604543" y="2188882"/>
                  <a:pt x="594908" y="2152767"/>
                </a:cubicBezTo>
                <a:cubicBezTo>
                  <a:pt x="559787" y="2022383"/>
                  <a:pt x="483946" y="1927503"/>
                  <a:pt x="370497" y="1853742"/>
                </a:cubicBezTo>
                <a:cubicBezTo>
                  <a:pt x="337861" y="1832624"/>
                  <a:pt x="316415" y="1794059"/>
                  <a:pt x="271969" y="1787940"/>
                </a:cubicBezTo>
                <a:cubicBezTo>
                  <a:pt x="173127" y="1774472"/>
                  <a:pt x="204209" y="1669186"/>
                  <a:pt x="151990" y="1622358"/>
                </a:cubicBezTo>
                <a:cubicBezTo>
                  <a:pt x="142044" y="1613481"/>
                  <a:pt x="133031" y="1596037"/>
                  <a:pt x="134895" y="1584102"/>
                </a:cubicBezTo>
                <a:cubicBezTo>
                  <a:pt x="137691" y="1566959"/>
                  <a:pt x="149504" y="1550739"/>
                  <a:pt x="159450" y="1535435"/>
                </a:cubicBezTo>
                <a:cubicBezTo>
                  <a:pt x="169708" y="1520133"/>
                  <a:pt x="185247" y="1506664"/>
                  <a:pt x="177788" y="1486465"/>
                </a:cubicBezTo>
                <a:cubicBezTo>
                  <a:pt x="174683" y="1478202"/>
                  <a:pt x="176855" y="1449432"/>
                  <a:pt x="153856" y="1472079"/>
                </a:cubicBezTo>
                <a:cubicBezTo>
                  <a:pt x="90760" y="1534212"/>
                  <a:pt x="54082" y="1475449"/>
                  <a:pt x="0" y="1447289"/>
                </a:cubicBezTo>
                <a:cubicBezTo>
                  <a:pt x="43515" y="1418212"/>
                  <a:pt x="82677" y="1397707"/>
                  <a:pt x="89205" y="1354247"/>
                </a:cubicBezTo>
                <a:cubicBezTo>
                  <a:pt x="102570" y="1264569"/>
                  <a:pt x="159758" y="1223557"/>
                  <a:pt x="246479" y="1215599"/>
                </a:cubicBezTo>
                <a:cubicBezTo>
                  <a:pt x="214465" y="1128983"/>
                  <a:pt x="214465" y="1128983"/>
                  <a:pt x="317968" y="1117045"/>
                </a:cubicBezTo>
                <a:cubicBezTo>
                  <a:pt x="278183" y="1061955"/>
                  <a:pt x="278183" y="1047876"/>
                  <a:pt x="326362" y="1028900"/>
                </a:cubicBezTo>
                <a:cubicBezTo>
                  <a:pt x="372673" y="1010841"/>
                  <a:pt x="423957" y="1004720"/>
                  <a:pt x="466852" y="976870"/>
                </a:cubicBezTo>
                <a:cubicBezTo>
                  <a:pt x="427377" y="906475"/>
                  <a:pt x="416188" y="824756"/>
                  <a:pt x="334754" y="790475"/>
                </a:cubicBezTo>
                <a:cubicBezTo>
                  <a:pt x="322010" y="785272"/>
                  <a:pt x="313307" y="764154"/>
                  <a:pt x="321386" y="751912"/>
                </a:cubicBezTo>
                <a:cubicBezTo>
                  <a:pt x="350915" y="707534"/>
                  <a:pt x="308644" y="623365"/>
                  <a:pt x="400645" y="613877"/>
                </a:cubicBezTo>
                <a:cubicBezTo>
                  <a:pt x="412147" y="612959"/>
                  <a:pt x="422716" y="603776"/>
                  <a:pt x="413701" y="591839"/>
                </a:cubicBezTo>
                <a:cubicBezTo>
                  <a:pt x="382618" y="550216"/>
                  <a:pt x="420228" y="552969"/>
                  <a:pt x="442917" y="547767"/>
                </a:cubicBezTo>
                <a:cubicBezTo>
                  <a:pt x="470271" y="541341"/>
                  <a:pt x="501353" y="559703"/>
                  <a:pt x="526840" y="537055"/>
                </a:cubicBezTo>
                <a:cubicBezTo>
                  <a:pt x="520932" y="513181"/>
                  <a:pt x="498866" y="513487"/>
                  <a:pt x="483325" y="505836"/>
                </a:cubicBezTo>
                <a:cubicBezTo>
                  <a:pt x="437946" y="483799"/>
                  <a:pt x="400956" y="457479"/>
                  <a:pt x="398780" y="400243"/>
                </a:cubicBezTo>
                <a:cubicBezTo>
                  <a:pt x="397229" y="354028"/>
                  <a:pt x="392255" y="313323"/>
                  <a:pt x="455041" y="299242"/>
                </a:cubicBezTo>
                <a:cubicBezTo>
                  <a:pt x="481149" y="293426"/>
                  <a:pt x="473687" y="260067"/>
                  <a:pt x="458769" y="243538"/>
                </a:cubicBezTo>
                <a:cubicBezTo>
                  <a:pt x="432038" y="214157"/>
                  <a:pt x="409972" y="174981"/>
                  <a:pt x="363969" y="172227"/>
                </a:cubicBezTo>
                <a:cubicBezTo>
                  <a:pt x="335995" y="170391"/>
                  <a:pt x="314549" y="158146"/>
                  <a:pt x="292481" y="144069"/>
                </a:cubicBezTo>
                <a:cubicBezTo>
                  <a:pt x="276630" y="133966"/>
                  <a:pt x="257670" y="125398"/>
                  <a:pt x="259534" y="103668"/>
                </a:cubicBezTo>
                <a:cubicBezTo>
                  <a:pt x="261399" y="82855"/>
                  <a:pt x="279736" y="74286"/>
                  <a:pt x="298387" y="70001"/>
                </a:cubicBezTo>
                <a:cubicBezTo>
                  <a:pt x="345011" y="59672"/>
                  <a:pt x="389535" y="45726"/>
                  <a:pt x="430782" y="19902"/>
                </a:cubicBezTo>
                <a:close/>
              </a:path>
            </a:pathLst>
          </a:custGeom>
          <a:effectLst>
            <a:outerShdw blurRad="50800" dist="50800" dir="5400000" sx="74325" sy="74325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4" name="Picture 2" descr="image">
            <a:extLst>
              <a:ext uri="{FF2B5EF4-FFF2-40B4-BE49-F238E27FC236}">
                <a16:creationId xmlns:a16="http://schemas.microsoft.com/office/drawing/2014/main" id="{836F9A4C-F598-FE7F-2D93-14BE5A281D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6204" y="2295091"/>
            <a:ext cx="7239000" cy="4017644"/>
          </a:xfrm>
          <a:prstGeom prst="rect">
            <a:avLst/>
          </a:prstGeom>
          <a:noFill/>
          <a:effectLst>
            <a:outerShdw blurRad="50800" dist="10492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image">
            <a:extLst>
              <a:ext uri="{FF2B5EF4-FFF2-40B4-BE49-F238E27FC236}">
                <a16:creationId xmlns:a16="http://schemas.microsoft.com/office/drawing/2014/main" id="{662E5014-1D0C-C420-9ED9-9D62B3D24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19884" y="4303913"/>
            <a:ext cx="2469930" cy="248234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9681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A0806-D370-39EC-4540-8A056D497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s to the Mi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60773A-91E3-00D6-BFD0-E263E897AA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Originally a task that usually took 12 hours of manually opening models and running a script that extracted information</a:t>
            </a:r>
          </a:p>
          <a:p>
            <a:r>
              <a:rPr lang="en-US" dirty="0"/>
              <a:t>Has now been optimized to currently run 20-25 full Revit models in 50 min extracting millions of lines Revit element data</a:t>
            </a:r>
          </a:p>
          <a:p>
            <a:r>
              <a:rPr lang="en-US" dirty="0"/>
              <a:t>Conversely, Autodesk Forge Flex tokens can be utilized to perform these functions however they comes with a price of $30/day per token not to mention the hassle of requesting for permission to use these tokens which has 6+ months with no luck.</a:t>
            </a:r>
          </a:p>
          <a:p>
            <a:r>
              <a:rPr lang="en-US" dirty="0"/>
              <a:t>Would need a token for every model plus additional tokens for accessing the BIM cloud where the models are hosted</a:t>
            </a:r>
          </a:p>
          <a:p>
            <a:r>
              <a:rPr lang="en-US" dirty="0"/>
              <a:t>This could cost anywhere from $436,800 (40 tokens) - $1,092,000 (100 tokens) annually which is just the lower end assuming minimum usage.</a:t>
            </a:r>
          </a:p>
          <a:p>
            <a:r>
              <a:rPr lang="en-US" dirty="0"/>
              <a:t>Contributed to frontend development utilizing </a:t>
            </a:r>
            <a:r>
              <a:rPr lang="en-US" dirty="0" err="1"/>
              <a:t>DeckGL</a:t>
            </a:r>
            <a:r>
              <a:rPr lang="en-US" dirty="0"/>
              <a:t> to render extracted data on the web and perform complex calculations to assist the Material Flow Team as well as create a simple UI for users to run </a:t>
            </a:r>
            <a:r>
              <a:rPr lang="en-US" dirty="0" err="1"/>
              <a:t>adhoc</a:t>
            </a:r>
            <a:r>
              <a:rPr lang="en-US" dirty="0"/>
              <a:t> </a:t>
            </a:r>
            <a:r>
              <a:rPr lang="en-US" dirty="0" err="1"/>
              <a:t>revit</a:t>
            </a:r>
            <a:r>
              <a:rPr lang="en-US" dirty="0"/>
              <a:t> extractions jobs.</a:t>
            </a:r>
          </a:p>
        </p:txBody>
      </p:sp>
    </p:spTree>
    <p:extLst>
      <p:ext uri="{BB962C8B-B14F-4D97-AF65-F5344CB8AC3E}">
        <p14:creationId xmlns:p14="http://schemas.microsoft.com/office/powerpoint/2010/main" val="2822483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E4060-161A-C121-4FF9-38A62CCD9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28E49-C0FF-0FAF-FE0E-3E2ECD99AE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7EF0DDC-DA84-9E29-61C0-5D4F736B1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088" y="0"/>
            <a:ext cx="74898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759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7</TotalTime>
  <Words>496</Words>
  <Application>Microsoft Macintosh PowerPoint</Application>
  <PresentationFormat>Widescreen</PresentationFormat>
  <Paragraphs>8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Helvetica Neue</vt:lpstr>
      <vt:lpstr>Söhne</vt:lpstr>
      <vt:lpstr>Office Theme</vt:lpstr>
      <vt:lpstr>think-cell Slide</vt:lpstr>
      <vt:lpstr>PowerPoint Presentation</vt:lpstr>
      <vt:lpstr>PowerPoint Presentation</vt:lpstr>
      <vt:lpstr>What/Why?</vt:lpstr>
      <vt:lpstr>Current Situations</vt:lpstr>
      <vt:lpstr>Objective</vt:lpstr>
      <vt:lpstr>Contributions to the Miss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han Singh [I]</dc:creator>
  <cp:lastModifiedBy>Rohan Singh [I]</cp:lastModifiedBy>
  <cp:revision>21</cp:revision>
  <dcterms:created xsi:type="dcterms:W3CDTF">2023-07-26T18:57:46Z</dcterms:created>
  <dcterms:modified xsi:type="dcterms:W3CDTF">2023-07-28T03:2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2d06e56-1756-4005-87f1-1edc72dd4bdf_Enabled">
    <vt:lpwstr>true</vt:lpwstr>
  </property>
  <property fmtid="{D5CDD505-2E9C-101B-9397-08002B2CF9AE}" pid="3" name="MSIP_Label_52d06e56-1756-4005-87f1-1edc72dd4bdf_SetDate">
    <vt:lpwstr>2023-07-26T19:21:04Z</vt:lpwstr>
  </property>
  <property fmtid="{D5CDD505-2E9C-101B-9397-08002B2CF9AE}" pid="4" name="MSIP_Label_52d06e56-1756-4005-87f1-1edc72dd4bdf_Method">
    <vt:lpwstr>Standard</vt:lpwstr>
  </property>
  <property fmtid="{D5CDD505-2E9C-101B-9397-08002B2CF9AE}" pid="5" name="MSIP_Label_52d06e56-1756-4005-87f1-1edc72dd4bdf_Name">
    <vt:lpwstr>General</vt:lpwstr>
  </property>
  <property fmtid="{D5CDD505-2E9C-101B-9397-08002B2CF9AE}" pid="6" name="MSIP_Label_52d06e56-1756-4005-87f1-1edc72dd4bdf_SiteId">
    <vt:lpwstr>9026c5f4-86d0-4b9f-bd39-b7d4d0fb4674</vt:lpwstr>
  </property>
  <property fmtid="{D5CDD505-2E9C-101B-9397-08002B2CF9AE}" pid="7" name="MSIP_Label_52d06e56-1756-4005-87f1-1edc72dd4bdf_ActionId">
    <vt:lpwstr>84047309-c96a-445f-8c18-cc6843dfd1b9</vt:lpwstr>
  </property>
  <property fmtid="{D5CDD505-2E9C-101B-9397-08002B2CF9AE}" pid="8" name="MSIP_Label_52d06e56-1756-4005-87f1-1edc72dd4bdf_ContentBits">
    <vt:lpwstr>0</vt:lpwstr>
  </property>
</Properties>
</file>